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4"/>
  </p:notesMasterIdLst>
  <p:sldIdLst>
    <p:sldId id="350" r:id="rId2"/>
    <p:sldId id="397" r:id="rId3"/>
    <p:sldId id="421" r:id="rId4"/>
    <p:sldId id="423" r:id="rId5"/>
    <p:sldId id="385" r:id="rId6"/>
    <p:sldId id="401" r:id="rId7"/>
    <p:sldId id="399" r:id="rId8"/>
    <p:sldId id="1148" r:id="rId9"/>
    <p:sldId id="428" r:id="rId10"/>
    <p:sldId id="429" r:id="rId11"/>
    <p:sldId id="425" r:id="rId12"/>
    <p:sldId id="426" r:id="rId13"/>
    <p:sldId id="411" r:id="rId14"/>
    <p:sldId id="416" r:id="rId15"/>
    <p:sldId id="415" r:id="rId16"/>
    <p:sldId id="430" r:id="rId17"/>
    <p:sldId id="1147" r:id="rId18"/>
    <p:sldId id="407" r:id="rId19"/>
    <p:sldId id="406" r:id="rId20"/>
    <p:sldId id="410" r:id="rId21"/>
    <p:sldId id="1145" r:id="rId22"/>
    <p:sldId id="1146" r:id="rId23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EF40B7-9358-CC48-94FF-A0E234C52276}" v="69" dt="2022-11-04T07:27:44.501"/>
    <p1510:client id="{FAAD7E85-9994-43FF-9F4E-AFCBA72781B2}" v="208" dt="2022-11-02T13:17:01.5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17EF40B7-9358-CC48-94FF-A0E234C52276}"/>
    <pc:docChg chg="undo custSel addSld delSld modSld sldOrd">
      <pc:chgData name="Stina Ru" userId="a298bcda0a73aae4" providerId="LiveId" clId="{17EF40B7-9358-CC48-94FF-A0E234C52276}" dt="2022-11-04T07:27:44.501" v="68" actId="478"/>
      <pc:docMkLst>
        <pc:docMk/>
      </pc:docMkLst>
      <pc:sldChg chg="delSp addAnim delAnim">
        <pc:chgData name="Stina Ru" userId="a298bcda0a73aae4" providerId="LiveId" clId="{17EF40B7-9358-CC48-94FF-A0E234C52276}" dt="2022-11-04T07:27:44.501" v="68" actId="478"/>
        <pc:sldMkLst>
          <pc:docMk/>
          <pc:sldMk cId="4118478304" sldId="399"/>
        </pc:sldMkLst>
        <pc:cxnChg chg="del">
          <ac:chgData name="Stina Ru" userId="a298bcda0a73aae4" providerId="LiveId" clId="{17EF40B7-9358-CC48-94FF-A0E234C52276}" dt="2022-11-04T07:27:36.068" v="64" actId="478"/>
          <ac:cxnSpMkLst>
            <pc:docMk/>
            <pc:sldMk cId="4118478304" sldId="399"/>
            <ac:cxnSpMk id="27" creationId="{88AF82B7-1C26-650C-A249-0348E8DE08D8}"/>
          </ac:cxnSpMkLst>
        </pc:cxnChg>
        <pc:cxnChg chg="del">
          <ac:chgData name="Stina Ru" userId="a298bcda0a73aae4" providerId="LiveId" clId="{17EF40B7-9358-CC48-94FF-A0E234C52276}" dt="2022-11-04T07:27:37.991" v="65" actId="478"/>
          <ac:cxnSpMkLst>
            <pc:docMk/>
            <pc:sldMk cId="4118478304" sldId="399"/>
            <ac:cxnSpMk id="28" creationId="{F508D69F-FC5C-9924-831C-00B7B53C6FCB}"/>
          </ac:cxnSpMkLst>
        </pc:cxnChg>
        <pc:cxnChg chg="del">
          <ac:chgData name="Stina Ru" userId="a298bcda0a73aae4" providerId="LiveId" clId="{17EF40B7-9358-CC48-94FF-A0E234C52276}" dt="2022-11-04T07:27:40.049" v="66" actId="478"/>
          <ac:cxnSpMkLst>
            <pc:docMk/>
            <pc:sldMk cId="4118478304" sldId="399"/>
            <ac:cxnSpMk id="31" creationId="{C6681604-AD0E-CF79-4D1E-4048B5E72F0F}"/>
          </ac:cxnSpMkLst>
        </pc:cxnChg>
        <pc:cxnChg chg="del">
          <ac:chgData name="Stina Ru" userId="a298bcda0a73aae4" providerId="LiveId" clId="{17EF40B7-9358-CC48-94FF-A0E234C52276}" dt="2022-11-04T07:27:44.501" v="68" actId="478"/>
          <ac:cxnSpMkLst>
            <pc:docMk/>
            <pc:sldMk cId="4118478304" sldId="399"/>
            <ac:cxnSpMk id="33" creationId="{7959950F-670C-B038-151E-F9FEB7D04D78}"/>
          </ac:cxnSpMkLst>
        </pc:cxnChg>
        <pc:cxnChg chg="del">
          <ac:chgData name="Stina Ru" userId="a298bcda0a73aae4" providerId="LiveId" clId="{17EF40B7-9358-CC48-94FF-A0E234C52276}" dt="2022-11-04T07:27:42.712" v="67" actId="478"/>
          <ac:cxnSpMkLst>
            <pc:docMk/>
            <pc:sldMk cId="4118478304" sldId="399"/>
            <ac:cxnSpMk id="35" creationId="{6F6758D3-D8A9-F681-ED88-02032E17C1CA}"/>
          </ac:cxnSpMkLst>
        </pc:cxnChg>
      </pc:sldChg>
      <pc:sldChg chg="modSp ord">
        <pc:chgData name="Stina Ru" userId="a298bcda0a73aae4" providerId="LiveId" clId="{17EF40B7-9358-CC48-94FF-A0E234C52276}" dt="2022-11-04T07:24:22.811" v="54" actId="20577"/>
        <pc:sldMkLst>
          <pc:docMk/>
          <pc:sldMk cId="617495542" sldId="421"/>
        </pc:sldMkLst>
        <pc:spChg chg="mod">
          <ac:chgData name="Stina Ru" userId="a298bcda0a73aae4" providerId="LiveId" clId="{17EF40B7-9358-CC48-94FF-A0E234C52276}" dt="2022-11-04T07:24:22.811" v="54" actId="20577"/>
          <ac:spMkLst>
            <pc:docMk/>
            <pc:sldMk cId="617495542" sldId="421"/>
            <ac:spMk id="6" creationId="{070F7C74-9112-406B-A0CC-08F6DDA1D2AF}"/>
          </ac:spMkLst>
        </pc:spChg>
        <pc:spChg chg="mod">
          <ac:chgData name="Stina Ru" userId="a298bcda0a73aae4" providerId="LiveId" clId="{17EF40B7-9358-CC48-94FF-A0E234C52276}" dt="2022-11-04T07:23:24.711" v="9" actId="20577"/>
          <ac:spMkLst>
            <pc:docMk/>
            <pc:sldMk cId="617495542" sldId="421"/>
            <ac:spMk id="12" creationId="{13B203F9-1E27-4E57-902E-B40C20ADA7DF}"/>
          </ac:spMkLst>
        </pc:spChg>
      </pc:sldChg>
      <pc:sldChg chg="del">
        <pc:chgData name="Stina Ru" userId="a298bcda0a73aae4" providerId="LiveId" clId="{17EF40B7-9358-CC48-94FF-A0E234C52276}" dt="2022-11-04T07:20:50.900" v="0" actId="21"/>
        <pc:sldMkLst>
          <pc:docMk/>
          <pc:sldMk cId="2729358789" sldId="422"/>
        </pc:sldMkLst>
      </pc:sldChg>
      <pc:sldChg chg="add">
        <pc:chgData name="Stina Ru" userId="a298bcda0a73aae4" providerId="LiveId" clId="{17EF40B7-9358-CC48-94FF-A0E234C52276}" dt="2022-11-04T07:27:32.141" v="63" actId="571"/>
        <pc:sldMkLst>
          <pc:docMk/>
          <pc:sldMk cId="1905010359" sldId="1148"/>
        </pc:sldMkLst>
      </pc:sldChg>
    </pc:docChg>
  </pc:docChgLst>
  <pc:docChgLst>
    <pc:chgData name="Stina Ru" userId="a298bcda0a73aae4" providerId="LiveId" clId="{FAAD7E85-9994-43FF-9F4E-AFCBA72781B2}"/>
    <pc:docChg chg="undo custSel addSld delSld modSld sldOrd">
      <pc:chgData name="Stina Ru" userId="a298bcda0a73aae4" providerId="LiveId" clId="{FAAD7E85-9994-43FF-9F4E-AFCBA72781B2}" dt="2022-11-02T13:17:07.125" v="5774" actId="14100"/>
      <pc:docMkLst>
        <pc:docMk/>
      </pc:docMkLst>
      <pc:sldChg chg="modSp mod">
        <pc:chgData name="Stina Ru" userId="a298bcda0a73aae4" providerId="LiveId" clId="{FAAD7E85-9994-43FF-9F4E-AFCBA72781B2}" dt="2022-11-01T11:50:51.672" v="1084" actId="20577"/>
        <pc:sldMkLst>
          <pc:docMk/>
          <pc:sldMk cId="175173122" sldId="350"/>
        </pc:sldMkLst>
        <pc:spChg chg="mod">
          <ac:chgData name="Stina Ru" userId="a298bcda0a73aae4" providerId="LiveId" clId="{FAAD7E85-9994-43FF-9F4E-AFCBA72781B2}" dt="2022-11-01T11:50:51.672" v="1084" actId="20577"/>
          <ac:spMkLst>
            <pc:docMk/>
            <pc:sldMk cId="175173122" sldId="350"/>
            <ac:spMk id="2" creationId="{00000000-0000-0000-0000-000000000000}"/>
          </ac:spMkLst>
        </pc:spChg>
      </pc:sldChg>
      <pc:sldChg chg="modSp add del mod">
        <pc:chgData name="Stina Ru" userId="a298bcda0a73aae4" providerId="LiveId" clId="{FAAD7E85-9994-43FF-9F4E-AFCBA72781B2}" dt="2022-11-01T12:10:28.694" v="1503" actId="6549"/>
        <pc:sldMkLst>
          <pc:docMk/>
          <pc:sldMk cId="762852499" sldId="385"/>
        </pc:sldMkLst>
        <pc:spChg chg="mod">
          <ac:chgData name="Stina Ru" userId="a298bcda0a73aae4" providerId="LiveId" clId="{FAAD7E85-9994-43FF-9F4E-AFCBA72781B2}" dt="2022-11-01T12:10:28.694" v="1503" actId="6549"/>
          <ac:spMkLst>
            <pc:docMk/>
            <pc:sldMk cId="762852499" sldId="385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1T12:04:40.899" v="1324" actId="20577"/>
          <ac:spMkLst>
            <pc:docMk/>
            <pc:sldMk cId="762852499" sldId="385"/>
            <ac:spMk id="3" creationId="{62E373E2-E479-4B85-B011-875D0EA60F4A}"/>
          </ac:spMkLst>
        </pc:spChg>
      </pc:sldChg>
      <pc:sldChg chg="modSp del mod">
        <pc:chgData name="Stina Ru" userId="a298bcda0a73aae4" providerId="LiveId" clId="{FAAD7E85-9994-43FF-9F4E-AFCBA72781B2}" dt="2022-11-02T00:30:51.431" v="4545" actId="47"/>
        <pc:sldMkLst>
          <pc:docMk/>
          <pc:sldMk cId="386491951" sldId="390"/>
        </pc:sldMkLst>
        <pc:spChg chg="mod">
          <ac:chgData name="Stina Ru" userId="a298bcda0a73aae4" providerId="LiveId" clId="{FAAD7E85-9994-43FF-9F4E-AFCBA72781B2}" dt="2022-11-01T22:22:29.277" v="4017" actId="21"/>
          <ac:spMkLst>
            <pc:docMk/>
            <pc:sldMk cId="386491951" sldId="390"/>
            <ac:spMk id="9" creationId="{28CD78BF-FD21-4273-AC08-8CC747F9071D}"/>
          </ac:spMkLst>
        </pc:spChg>
      </pc:sldChg>
      <pc:sldChg chg="del">
        <pc:chgData name="Stina Ru" userId="a298bcda0a73aae4" providerId="LiveId" clId="{FAAD7E85-9994-43FF-9F4E-AFCBA72781B2}" dt="2022-11-01T20:14:30.578" v="2807" actId="47"/>
        <pc:sldMkLst>
          <pc:docMk/>
          <pc:sldMk cId="2456413679" sldId="396"/>
        </pc:sldMkLst>
      </pc:sldChg>
      <pc:sldChg chg="delSp modSp mod ord">
        <pc:chgData name="Stina Ru" userId="a298bcda0a73aae4" providerId="LiveId" clId="{FAAD7E85-9994-43FF-9F4E-AFCBA72781B2}" dt="2022-11-02T10:04:18.633" v="4970" actId="6549"/>
        <pc:sldMkLst>
          <pc:docMk/>
          <pc:sldMk cId="1525154466" sldId="397"/>
        </pc:sldMkLst>
        <pc:spChg chg="del">
          <ac:chgData name="Stina Ru" userId="a298bcda0a73aae4" providerId="LiveId" clId="{FAAD7E85-9994-43FF-9F4E-AFCBA72781B2}" dt="2022-11-01T10:56:04.755" v="32" actId="478"/>
          <ac:spMkLst>
            <pc:docMk/>
            <pc:sldMk cId="1525154466" sldId="397"/>
            <ac:spMk id="5" creationId="{99ED585D-EA2A-FC0D-3917-8B67DB716042}"/>
          </ac:spMkLst>
        </pc:spChg>
        <pc:spChg chg="mod">
          <ac:chgData name="Stina Ru" userId="a298bcda0a73aae4" providerId="LiveId" clId="{FAAD7E85-9994-43FF-9F4E-AFCBA72781B2}" dt="2022-11-02T10:04:18.633" v="4970" actId="6549"/>
          <ac:spMkLst>
            <pc:docMk/>
            <pc:sldMk cId="1525154466" sldId="397"/>
            <ac:spMk id="6" creationId="{070F7C74-9112-406B-A0CC-08F6DDA1D2AF}"/>
          </ac:spMkLst>
        </pc:spChg>
        <pc:spChg chg="del">
          <ac:chgData name="Stina Ru" userId="a298bcda0a73aae4" providerId="LiveId" clId="{FAAD7E85-9994-43FF-9F4E-AFCBA72781B2}" dt="2022-11-01T10:55:27.367" v="14" actId="478"/>
          <ac:spMkLst>
            <pc:docMk/>
            <pc:sldMk cId="1525154466" sldId="397"/>
            <ac:spMk id="7" creationId="{34CE29E5-DA77-4260-8196-35FBF10AC0C4}"/>
          </ac:spMkLst>
        </pc:spChg>
        <pc:spChg chg="del">
          <ac:chgData name="Stina Ru" userId="a298bcda0a73aae4" providerId="LiveId" clId="{FAAD7E85-9994-43FF-9F4E-AFCBA72781B2}" dt="2022-11-01T10:55:25.672" v="13" actId="478"/>
          <ac:spMkLst>
            <pc:docMk/>
            <pc:sldMk cId="1525154466" sldId="397"/>
            <ac:spMk id="10" creationId="{A40E9D6D-04B3-CF9F-3148-0BA8F272D01F}"/>
          </ac:spMkLst>
        </pc:spChg>
        <pc:spChg chg="mod">
          <ac:chgData name="Stina Ru" userId="a298bcda0a73aae4" providerId="LiveId" clId="{FAAD7E85-9994-43FF-9F4E-AFCBA72781B2}" dt="2022-11-01T20:12:38.857" v="2804" actId="20577"/>
          <ac:spMkLst>
            <pc:docMk/>
            <pc:sldMk cId="1525154466" sldId="397"/>
            <ac:spMk id="12" creationId="{13B203F9-1E27-4E57-902E-B40C20ADA7DF}"/>
          </ac:spMkLst>
        </pc:spChg>
      </pc:sldChg>
      <pc:sldChg chg="modSp del mod">
        <pc:chgData name="Stina Ru" userId="a298bcda0a73aae4" providerId="LiveId" clId="{FAAD7E85-9994-43FF-9F4E-AFCBA72781B2}" dt="2022-11-01T21:00:09.667" v="3155" actId="47"/>
        <pc:sldMkLst>
          <pc:docMk/>
          <pc:sldMk cId="2813078668" sldId="398"/>
        </pc:sldMkLst>
        <pc:spChg chg="mod">
          <ac:chgData name="Stina Ru" userId="a298bcda0a73aae4" providerId="LiveId" clId="{FAAD7E85-9994-43FF-9F4E-AFCBA72781B2}" dt="2022-11-01T21:00:07.172" v="3154" actId="21"/>
          <ac:spMkLst>
            <pc:docMk/>
            <pc:sldMk cId="2813078668" sldId="398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1T20:45:08.859" v="2966" actId="20577"/>
          <ac:spMkLst>
            <pc:docMk/>
            <pc:sldMk cId="2813078668" sldId="398"/>
            <ac:spMk id="12" creationId="{13B203F9-1E27-4E57-902E-B40C20ADA7DF}"/>
          </ac:spMkLst>
        </pc:spChg>
      </pc:sldChg>
      <pc:sldChg chg="addSp delSp modSp add mod ord">
        <pc:chgData name="Stina Ru" userId="a298bcda0a73aae4" providerId="LiveId" clId="{FAAD7E85-9994-43FF-9F4E-AFCBA72781B2}" dt="2022-11-02T13:17:07.125" v="5774" actId="14100"/>
        <pc:sldMkLst>
          <pc:docMk/>
          <pc:sldMk cId="4118478304" sldId="399"/>
        </pc:sldMkLst>
        <pc:spChg chg="mod">
          <ac:chgData name="Stina Ru" userId="a298bcda0a73aae4" providerId="LiveId" clId="{FAAD7E85-9994-43FF-9F4E-AFCBA72781B2}" dt="2022-11-02T00:28:13.230" v="4523" actId="1076"/>
          <ac:spMkLst>
            <pc:docMk/>
            <pc:sldMk cId="4118478304" sldId="399"/>
            <ac:spMk id="10" creationId="{40ABEE06-3562-4606-8421-83FC0FF12526}"/>
          </ac:spMkLst>
        </pc:spChg>
        <pc:spChg chg="mod">
          <ac:chgData name="Stina Ru" userId="a298bcda0a73aae4" providerId="LiveId" clId="{FAAD7E85-9994-43FF-9F4E-AFCBA72781B2}" dt="2022-11-02T00:28:22.654" v="4535" actId="5793"/>
          <ac:spMkLst>
            <pc:docMk/>
            <pc:sldMk cId="4118478304" sldId="399"/>
            <ac:spMk id="11" creationId="{32D5A5BC-576A-4304-8D40-7E6068E80B02}"/>
          </ac:spMkLst>
        </pc:spChg>
        <pc:spChg chg="mod">
          <ac:chgData name="Stina Ru" userId="a298bcda0a73aae4" providerId="LiveId" clId="{FAAD7E85-9994-43FF-9F4E-AFCBA72781B2}" dt="2022-11-02T00:28:08.065" v="4521" actId="1076"/>
          <ac:spMkLst>
            <pc:docMk/>
            <pc:sldMk cId="4118478304" sldId="399"/>
            <ac:spMk id="14" creationId="{2D6C0DC7-D5A3-4A84-85D2-9959B6F30A6C}"/>
          </ac:spMkLst>
        </pc:spChg>
        <pc:spChg chg="mod">
          <ac:chgData name="Stina Ru" userId="a298bcda0a73aae4" providerId="LiveId" clId="{FAAD7E85-9994-43FF-9F4E-AFCBA72781B2}" dt="2022-11-02T00:28:10.908" v="4522" actId="1076"/>
          <ac:spMkLst>
            <pc:docMk/>
            <pc:sldMk cId="4118478304" sldId="399"/>
            <ac:spMk id="15" creationId="{D55C696A-B89C-42F2-AF97-0FF6852A05C2}"/>
          </ac:spMkLst>
        </pc:spChg>
        <pc:spChg chg="del">
          <ac:chgData name="Stina Ru" userId="a298bcda0a73aae4" providerId="LiveId" clId="{FAAD7E85-9994-43FF-9F4E-AFCBA72781B2}" dt="2022-11-02T00:27:58.300" v="4520" actId="478"/>
          <ac:spMkLst>
            <pc:docMk/>
            <pc:sldMk cId="4118478304" sldId="399"/>
            <ac:spMk id="16" creationId="{72DF2A40-01AC-44F5-A658-A2B898A36886}"/>
          </ac:spMkLst>
        </pc:spChg>
        <pc:cxnChg chg="add del mod">
          <ac:chgData name="Stina Ru" userId="a298bcda0a73aae4" providerId="LiveId" clId="{FAAD7E85-9994-43FF-9F4E-AFCBA72781B2}" dt="2022-11-02T13:14:00.415" v="5756" actId="478"/>
          <ac:cxnSpMkLst>
            <pc:docMk/>
            <pc:sldMk cId="4118478304" sldId="399"/>
            <ac:cxnSpMk id="16" creationId="{634AD7E5-5CCD-A6A1-3F40-FFC20F057EE8}"/>
          </ac:cxnSpMkLst>
        </pc:cxnChg>
        <pc:cxnChg chg="add del mod">
          <ac:chgData name="Stina Ru" userId="a298bcda0a73aae4" providerId="LiveId" clId="{FAAD7E85-9994-43FF-9F4E-AFCBA72781B2}" dt="2022-11-02T13:14:02.285" v="5757" actId="478"/>
          <ac:cxnSpMkLst>
            <pc:docMk/>
            <pc:sldMk cId="4118478304" sldId="399"/>
            <ac:cxnSpMk id="19" creationId="{A22FC8DA-04D7-0A2E-E254-79AD4FCA7A40}"/>
          </ac:cxnSpMkLst>
        </pc:cxnChg>
        <pc:cxnChg chg="add del mod">
          <ac:chgData name="Stina Ru" userId="a298bcda0a73aae4" providerId="LiveId" clId="{FAAD7E85-9994-43FF-9F4E-AFCBA72781B2}" dt="2022-11-02T13:13:59.118" v="5755" actId="478"/>
          <ac:cxnSpMkLst>
            <pc:docMk/>
            <pc:sldMk cId="4118478304" sldId="399"/>
            <ac:cxnSpMk id="20" creationId="{5E517404-83A9-D07D-15A9-F3B8502071B9}"/>
          </ac:cxnSpMkLst>
        </pc:cxnChg>
        <pc:cxnChg chg="add del mod">
          <ac:chgData name="Stina Ru" userId="a298bcda0a73aae4" providerId="LiveId" clId="{FAAD7E85-9994-43FF-9F4E-AFCBA72781B2}" dt="2022-11-02T13:14:04.146" v="5758" actId="478"/>
          <ac:cxnSpMkLst>
            <pc:docMk/>
            <pc:sldMk cId="4118478304" sldId="399"/>
            <ac:cxnSpMk id="21" creationId="{6BE802FE-16DF-0EFA-3A8B-4EECF46AE0A7}"/>
          </ac:cxnSpMkLst>
        </pc:cxnChg>
        <pc:cxnChg chg="add del mod">
          <ac:chgData name="Stina Ru" userId="a298bcda0a73aae4" providerId="LiveId" clId="{FAAD7E85-9994-43FF-9F4E-AFCBA72781B2}" dt="2022-11-02T13:14:05.777" v="5759" actId="478"/>
          <ac:cxnSpMkLst>
            <pc:docMk/>
            <pc:sldMk cId="4118478304" sldId="399"/>
            <ac:cxnSpMk id="24" creationId="{A6CC8E0F-15A2-862E-E01E-A14836A01EAF}"/>
          </ac:cxnSpMkLst>
        </pc:cxnChg>
        <pc:cxnChg chg="add mod">
          <ac:chgData name="Stina Ru" userId="a298bcda0a73aae4" providerId="LiveId" clId="{FAAD7E85-9994-43FF-9F4E-AFCBA72781B2}" dt="2022-11-02T13:15:21.062" v="5765" actId="14100"/>
          <ac:cxnSpMkLst>
            <pc:docMk/>
            <pc:sldMk cId="4118478304" sldId="399"/>
            <ac:cxnSpMk id="27" creationId="{88AF82B7-1C26-650C-A249-0348E8DE08D8}"/>
          </ac:cxnSpMkLst>
        </pc:cxnChg>
        <pc:cxnChg chg="add mod">
          <ac:chgData name="Stina Ru" userId="a298bcda0a73aae4" providerId="LiveId" clId="{FAAD7E85-9994-43FF-9F4E-AFCBA72781B2}" dt="2022-11-02T13:15:09.335" v="5763" actId="14100"/>
          <ac:cxnSpMkLst>
            <pc:docMk/>
            <pc:sldMk cId="4118478304" sldId="399"/>
            <ac:cxnSpMk id="28" creationId="{F508D69F-FC5C-9924-831C-00B7B53C6FCB}"/>
          </ac:cxnSpMkLst>
        </pc:cxnChg>
        <pc:cxnChg chg="add mod">
          <ac:chgData name="Stina Ru" userId="a298bcda0a73aae4" providerId="LiveId" clId="{FAAD7E85-9994-43FF-9F4E-AFCBA72781B2}" dt="2022-11-02T13:15:58.700" v="5768" actId="14100"/>
          <ac:cxnSpMkLst>
            <pc:docMk/>
            <pc:sldMk cId="4118478304" sldId="399"/>
            <ac:cxnSpMk id="31" creationId="{C6681604-AD0E-CF79-4D1E-4048B5E72F0F}"/>
          </ac:cxnSpMkLst>
        </pc:cxnChg>
        <pc:cxnChg chg="add mod">
          <ac:chgData name="Stina Ru" userId="a298bcda0a73aae4" providerId="LiveId" clId="{FAAD7E85-9994-43FF-9F4E-AFCBA72781B2}" dt="2022-11-02T13:16:24.927" v="5771" actId="14100"/>
          <ac:cxnSpMkLst>
            <pc:docMk/>
            <pc:sldMk cId="4118478304" sldId="399"/>
            <ac:cxnSpMk id="33" creationId="{7959950F-670C-B038-151E-F9FEB7D04D78}"/>
          </ac:cxnSpMkLst>
        </pc:cxnChg>
        <pc:cxnChg chg="add mod">
          <ac:chgData name="Stina Ru" userId="a298bcda0a73aae4" providerId="LiveId" clId="{FAAD7E85-9994-43FF-9F4E-AFCBA72781B2}" dt="2022-11-02T13:17:07.125" v="5774" actId="14100"/>
          <ac:cxnSpMkLst>
            <pc:docMk/>
            <pc:sldMk cId="4118478304" sldId="399"/>
            <ac:cxnSpMk id="35" creationId="{6F6758D3-D8A9-F681-ED88-02032E17C1CA}"/>
          </ac:cxnSpMkLst>
        </pc:cxnChg>
      </pc:sldChg>
      <pc:sldChg chg="del">
        <pc:chgData name="Stina Ru" userId="a298bcda0a73aae4" providerId="LiveId" clId="{FAAD7E85-9994-43FF-9F4E-AFCBA72781B2}" dt="2022-11-01T12:00:08.353" v="1306" actId="47"/>
        <pc:sldMkLst>
          <pc:docMk/>
          <pc:sldMk cId="167055624" sldId="401"/>
        </pc:sldMkLst>
      </pc:sldChg>
      <pc:sldChg chg="modSp add mod">
        <pc:chgData name="Stina Ru" userId="a298bcda0a73aae4" providerId="LiveId" clId="{FAAD7E85-9994-43FF-9F4E-AFCBA72781B2}" dt="2022-11-02T10:34:27.619" v="5514" actId="20577"/>
        <pc:sldMkLst>
          <pc:docMk/>
          <pc:sldMk cId="1926456335" sldId="401"/>
        </pc:sldMkLst>
        <pc:spChg chg="mod">
          <ac:chgData name="Stina Ru" userId="a298bcda0a73aae4" providerId="LiveId" clId="{FAAD7E85-9994-43FF-9F4E-AFCBA72781B2}" dt="2022-11-01T12:09:58.616" v="1492" actId="1076"/>
          <ac:spMkLst>
            <pc:docMk/>
            <pc:sldMk cId="1926456335" sldId="401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2T10:34:27.619" v="5514" actId="20577"/>
          <ac:spMkLst>
            <pc:docMk/>
            <pc:sldMk cId="1926456335" sldId="401"/>
            <ac:spMk id="3" creationId="{62E373E2-E479-4B85-B011-875D0EA60F4A}"/>
          </ac:spMkLst>
        </pc:spChg>
      </pc:sldChg>
      <pc:sldChg chg="del">
        <pc:chgData name="Stina Ru" userId="a298bcda0a73aae4" providerId="LiveId" clId="{FAAD7E85-9994-43FF-9F4E-AFCBA72781B2}" dt="2022-11-01T12:00:06.663" v="1304" actId="47"/>
        <pc:sldMkLst>
          <pc:docMk/>
          <pc:sldMk cId="544442391" sldId="402"/>
        </pc:sldMkLst>
      </pc:sldChg>
      <pc:sldChg chg="del">
        <pc:chgData name="Stina Ru" userId="a298bcda0a73aae4" providerId="LiveId" clId="{FAAD7E85-9994-43FF-9F4E-AFCBA72781B2}" dt="2022-11-01T13:01:11.517" v="2455" actId="47"/>
        <pc:sldMkLst>
          <pc:docMk/>
          <pc:sldMk cId="2324862932" sldId="403"/>
        </pc:sldMkLst>
      </pc:sldChg>
      <pc:sldChg chg="del">
        <pc:chgData name="Stina Ru" userId="a298bcda0a73aae4" providerId="LiveId" clId="{FAAD7E85-9994-43FF-9F4E-AFCBA72781B2}" dt="2022-11-01T12:00:07.709" v="1305" actId="47"/>
        <pc:sldMkLst>
          <pc:docMk/>
          <pc:sldMk cId="3152146863" sldId="404"/>
        </pc:sldMkLst>
      </pc:sldChg>
      <pc:sldChg chg="modSp del mod ord">
        <pc:chgData name="Stina Ru" userId="a298bcda0a73aae4" providerId="LiveId" clId="{FAAD7E85-9994-43FF-9F4E-AFCBA72781B2}" dt="2022-11-01T22:08:36.762" v="3759" actId="47"/>
        <pc:sldMkLst>
          <pc:docMk/>
          <pc:sldMk cId="4242727862" sldId="405"/>
        </pc:sldMkLst>
        <pc:spChg chg="mod">
          <ac:chgData name="Stina Ru" userId="a298bcda0a73aae4" providerId="LiveId" clId="{FAAD7E85-9994-43FF-9F4E-AFCBA72781B2}" dt="2022-11-01T22:03:03.150" v="3758" actId="20577"/>
          <ac:spMkLst>
            <pc:docMk/>
            <pc:sldMk cId="4242727862" sldId="405"/>
            <ac:spMk id="6" creationId="{070F7C74-9112-406B-A0CC-08F6DDA1D2AF}"/>
          </ac:spMkLst>
        </pc:spChg>
      </pc:sldChg>
      <pc:sldChg chg="modAnim">
        <pc:chgData name="Stina Ru" userId="a298bcda0a73aae4" providerId="LiveId" clId="{FAAD7E85-9994-43FF-9F4E-AFCBA72781B2}" dt="2022-11-02T10:15:05.869" v="5041"/>
        <pc:sldMkLst>
          <pc:docMk/>
          <pc:sldMk cId="3533918475" sldId="407"/>
        </pc:sldMkLst>
      </pc:sldChg>
      <pc:sldChg chg="del">
        <pc:chgData name="Stina Ru" userId="a298bcda0a73aae4" providerId="LiveId" clId="{FAAD7E85-9994-43FF-9F4E-AFCBA72781B2}" dt="2022-11-01T22:20:59.798" v="4016" actId="47"/>
        <pc:sldMkLst>
          <pc:docMk/>
          <pc:sldMk cId="979518480" sldId="408"/>
        </pc:sldMkLst>
      </pc:sldChg>
      <pc:sldChg chg="del">
        <pc:chgData name="Stina Ru" userId="a298bcda0a73aae4" providerId="LiveId" clId="{FAAD7E85-9994-43FF-9F4E-AFCBA72781B2}" dt="2022-11-01T22:20:55.390" v="4015" actId="47"/>
        <pc:sldMkLst>
          <pc:docMk/>
          <pc:sldMk cId="3454295774" sldId="409"/>
        </pc:sldMkLst>
      </pc:sldChg>
      <pc:sldChg chg="addSp delSp modSp mod ord">
        <pc:chgData name="Stina Ru" userId="a298bcda0a73aae4" providerId="LiveId" clId="{FAAD7E85-9994-43FF-9F4E-AFCBA72781B2}" dt="2022-11-02T11:46:31.843" v="5599" actId="1076"/>
        <pc:sldMkLst>
          <pc:docMk/>
          <pc:sldMk cId="3655710997" sldId="411"/>
        </pc:sldMkLst>
        <pc:spChg chg="mod">
          <ac:chgData name="Stina Ru" userId="a298bcda0a73aae4" providerId="LiveId" clId="{FAAD7E85-9994-43FF-9F4E-AFCBA72781B2}" dt="2022-11-02T10:39:39.600" v="5524" actId="20577"/>
          <ac:spMkLst>
            <pc:docMk/>
            <pc:sldMk cId="3655710997" sldId="411"/>
            <ac:spMk id="3" creationId="{8D38ACF7-9180-449A-B954-AE44592CA290}"/>
          </ac:spMkLst>
        </pc:spChg>
        <pc:spChg chg="mod">
          <ac:chgData name="Stina Ru" userId="a298bcda0a73aae4" providerId="LiveId" clId="{FAAD7E85-9994-43FF-9F4E-AFCBA72781B2}" dt="2022-11-02T10:01:09.091" v="4903" actId="1076"/>
          <ac:spMkLst>
            <pc:docMk/>
            <pc:sldMk cId="3655710997" sldId="411"/>
            <ac:spMk id="12" creationId="{13B203F9-1E27-4E57-902E-B40C20ADA7DF}"/>
          </ac:spMkLst>
        </pc:spChg>
        <pc:graphicFrameChg chg="add mod modGraphic">
          <ac:chgData name="Stina Ru" userId="a298bcda0a73aae4" providerId="LiveId" clId="{FAAD7E85-9994-43FF-9F4E-AFCBA72781B2}" dt="2022-11-02T10:01:23.390" v="4907" actId="1076"/>
          <ac:graphicFrameMkLst>
            <pc:docMk/>
            <pc:sldMk cId="3655710997" sldId="411"/>
            <ac:graphicFrameMk id="2" creationId="{7B5739BB-49AE-FC13-4A94-3859B2D8E538}"/>
          </ac:graphicFrameMkLst>
        </pc:graphicFrameChg>
        <pc:graphicFrameChg chg="del mod">
          <ac:chgData name="Stina Ru" userId="a298bcda0a73aae4" providerId="LiveId" clId="{FAAD7E85-9994-43FF-9F4E-AFCBA72781B2}" dt="2022-11-01T21:49:14.225" v="3580" actId="478"/>
          <ac:graphicFrameMkLst>
            <pc:docMk/>
            <pc:sldMk cId="3655710997" sldId="411"/>
            <ac:graphicFrameMk id="6" creationId="{C7D37CDA-4FF5-45EC-9718-EE3294D2A6B2}"/>
          </ac:graphicFrameMkLst>
        </pc:graphicFrameChg>
        <pc:graphicFrameChg chg="mod modGraphic">
          <ac:chgData name="Stina Ru" userId="a298bcda0a73aae4" providerId="LiveId" clId="{FAAD7E85-9994-43FF-9F4E-AFCBA72781B2}" dt="2022-11-02T10:01:27.547" v="4908" actId="1076"/>
          <ac:graphicFrameMkLst>
            <pc:docMk/>
            <pc:sldMk cId="3655710997" sldId="411"/>
            <ac:graphicFrameMk id="7" creationId="{B626CC5C-29B9-4A82-9168-EBE21AC7C19A}"/>
          </ac:graphicFrameMkLst>
        </pc:graphicFrameChg>
        <pc:cxnChg chg="add mod">
          <ac:chgData name="Stina Ru" userId="a298bcda0a73aae4" providerId="LiveId" clId="{FAAD7E85-9994-43FF-9F4E-AFCBA72781B2}" dt="2022-11-02T11:46:31.843" v="5599" actId="1076"/>
          <ac:cxnSpMkLst>
            <pc:docMk/>
            <pc:sldMk cId="3655710997" sldId="411"/>
            <ac:cxnSpMk id="6" creationId="{850818C6-E3A2-C65E-5BBA-4E41D2809A05}"/>
          </ac:cxnSpMkLst>
        </pc:cxnChg>
      </pc:sldChg>
      <pc:sldChg chg="del">
        <pc:chgData name="Stina Ru" userId="a298bcda0a73aae4" providerId="LiveId" clId="{FAAD7E85-9994-43FF-9F4E-AFCBA72781B2}" dt="2022-11-01T20:14:32.859" v="2808" actId="47"/>
        <pc:sldMkLst>
          <pc:docMk/>
          <pc:sldMk cId="1528659829" sldId="412"/>
        </pc:sldMkLst>
      </pc:sldChg>
      <pc:sldChg chg="del ord">
        <pc:chgData name="Stina Ru" userId="a298bcda0a73aae4" providerId="LiveId" clId="{FAAD7E85-9994-43FF-9F4E-AFCBA72781B2}" dt="2022-11-01T22:02:22.943" v="3703" actId="47"/>
        <pc:sldMkLst>
          <pc:docMk/>
          <pc:sldMk cId="4231506739" sldId="413"/>
        </pc:sldMkLst>
      </pc:sldChg>
      <pc:sldChg chg="del ord">
        <pc:chgData name="Stina Ru" userId="a298bcda0a73aae4" providerId="LiveId" clId="{FAAD7E85-9994-43FF-9F4E-AFCBA72781B2}" dt="2022-11-01T21:13:29.408" v="3417" actId="47"/>
        <pc:sldMkLst>
          <pc:docMk/>
          <pc:sldMk cId="4092884162" sldId="414"/>
        </pc:sldMkLst>
      </pc:sldChg>
      <pc:sldChg chg="modSp mod ord">
        <pc:chgData name="Stina Ru" userId="a298bcda0a73aae4" providerId="LiveId" clId="{FAAD7E85-9994-43FF-9F4E-AFCBA72781B2}" dt="2022-11-02T09:56:32.590" v="4753" actId="113"/>
        <pc:sldMkLst>
          <pc:docMk/>
          <pc:sldMk cId="3307834119" sldId="415"/>
        </pc:sldMkLst>
        <pc:graphicFrameChg chg="mod modGraphic">
          <ac:chgData name="Stina Ru" userId="a298bcda0a73aae4" providerId="LiveId" clId="{FAAD7E85-9994-43FF-9F4E-AFCBA72781B2}" dt="2022-11-02T09:56:32.590" v="4753" actId="113"/>
          <ac:graphicFrameMkLst>
            <pc:docMk/>
            <pc:sldMk cId="3307834119" sldId="415"/>
            <ac:graphicFrameMk id="2" creationId="{6C4308B4-F82F-4A4F-9530-C94F91D16ECE}"/>
          </ac:graphicFrameMkLst>
        </pc:graphicFrameChg>
      </pc:sldChg>
      <pc:sldChg chg="addSp delSp modSp mod ord">
        <pc:chgData name="Stina Ru" userId="a298bcda0a73aae4" providerId="LiveId" clId="{FAAD7E85-9994-43FF-9F4E-AFCBA72781B2}" dt="2022-11-02T11:54:27.204" v="5741" actId="478"/>
        <pc:sldMkLst>
          <pc:docMk/>
          <pc:sldMk cId="2836530040" sldId="416"/>
        </pc:sldMkLst>
        <pc:spChg chg="add del mod">
          <ac:chgData name="Stina Ru" userId="a298bcda0a73aae4" providerId="LiveId" clId="{FAAD7E85-9994-43FF-9F4E-AFCBA72781B2}" dt="2022-11-02T11:54:15.812" v="5736" actId="478"/>
          <ac:spMkLst>
            <pc:docMk/>
            <pc:sldMk cId="2836530040" sldId="416"/>
            <ac:spMk id="5" creationId="{30224B55-B4A7-AEEE-9364-34CCCDA16A08}"/>
          </ac:spMkLst>
        </pc:spChg>
        <pc:spChg chg="add del mod">
          <ac:chgData name="Stina Ru" userId="a298bcda0a73aae4" providerId="LiveId" clId="{FAAD7E85-9994-43FF-9F4E-AFCBA72781B2}" dt="2022-11-02T11:54:17.806" v="5737" actId="478"/>
          <ac:spMkLst>
            <pc:docMk/>
            <pc:sldMk cId="2836530040" sldId="416"/>
            <ac:spMk id="6" creationId="{03ED4CC1-36EF-9899-8A39-6530ADE7BAF0}"/>
          </ac:spMkLst>
        </pc:spChg>
        <pc:spChg chg="add del mod">
          <ac:chgData name="Stina Ru" userId="a298bcda0a73aae4" providerId="LiveId" clId="{FAAD7E85-9994-43FF-9F4E-AFCBA72781B2}" dt="2022-11-02T11:54:21.464" v="5738" actId="478"/>
          <ac:spMkLst>
            <pc:docMk/>
            <pc:sldMk cId="2836530040" sldId="416"/>
            <ac:spMk id="9" creationId="{2AF52B4E-E4C3-7B32-1B61-624AF653BEBA}"/>
          </ac:spMkLst>
        </pc:spChg>
        <pc:spChg chg="add del mod">
          <ac:chgData name="Stina Ru" userId="a298bcda0a73aae4" providerId="LiveId" clId="{FAAD7E85-9994-43FF-9F4E-AFCBA72781B2}" dt="2022-11-02T11:54:23.452" v="5739" actId="478"/>
          <ac:spMkLst>
            <pc:docMk/>
            <pc:sldMk cId="2836530040" sldId="416"/>
            <ac:spMk id="10" creationId="{B098800B-AAC9-C53D-28A0-3CD318348AA6}"/>
          </ac:spMkLst>
        </pc:spChg>
        <pc:spChg chg="add del mod">
          <ac:chgData name="Stina Ru" userId="a298bcda0a73aae4" providerId="LiveId" clId="{FAAD7E85-9994-43FF-9F4E-AFCBA72781B2}" dt="2022-11-02T11:54:27.204" v="5741" actId="478"/>
          <ac:spMkLst>
            <pc:docMk/>
            <pc:sldMk cId="2836530040" sldId="416"/>
            <ac:spMk id="11" creationId="{63082BFB-E897-52E4-6C91-46498B9F5C10}"/>
          </ac:spMkLst>
        </pc:spChg>
        <pc:spChg chg="add del mod">
          <ac:chgData name="Stina Ru" userId="a298bcda0a73aae4" providerId="LiveId" clId="{FAAD7E85-9994-43FF-9F4E-AFCBA72781B2}" dt="2022-11-02T11:54:25.312" v="5740" actId="478"/>
          <ac:spMkLst>
            <pc:docMk/>
            <pc:sldMk cId="2836530040" sldId="416"/>
            <ac:spMk id="14" creationId="{FF831954-2098-492B-22FD-3F0D685915BF}"/>
          </ac:spMkLst>
        </pc:spChg>
        <pc:graphicFrameChg chg="mod modGraphic">
          <ac:chgData name="Stina Ru" userId="a298bcda0a73aae4" providerId="LiveId" clId="{FAAD7E85-9994-43FF-9F4E-AFCBA72781B2}" dt="2022-11-02T11:52:50.024" v="5668" actId="6549"/>
          <ac:graphicFrameMkLst>
            <pc:docMk/>
            <pc:sldMk cId="2836530040" sldId="416"/>
            <ac:graphicFrameMk id="2" creationId="{6C4308B4-F82F-4A4F-9530-C94F91D16ECE}"/>
          </ac:graphicFrameMkLst>
        </pc:graphicFrameChg>
      </pc:sldChg>
      <pc:sldChg chg="add del">
        <pc:chgData name="Stina Ru" userId="a298bcda0a73aae4" providerId="LiveId" clId="{FAAD7E85-9994-43FF-9F4E-AFCBA72781B2}" dt="2022-11-01T12:00:11.250" v="1307" actId="47"/>
        <pc:sldMkLst>
          <pc:docMk/>
          <pc:sldMk cId="4240159343" sldId="417"/>
        </pc:sldMkLst>
      </pc:sldChg>
      <pc:sldChg chg="modSp add del mod">
        <pc:chgData name="Stina Ru" userId="a298bcda0a73aae4" providerId="LiveId" clId="{FAAD7E85-9994-43FF-9F4E-AFCBA72781B2}" dt="2022-11-01T11:24:23.988" v="493" actId="47"/>
        <pc:sldMkLst>
          <pc:docMk/>
          <pc:sldMk cId="524086059" sldId="418"/>
        </pc:sldMkLst>
        <pc:spChg chg="mod">
          <ac:chgData name="Stina Ru" userId="a298bcda0a73aae4" providerId="LiveId" clId="{FAAD7E85-9994-43FF-9F4E-AFCBA72781B2}" dt="2022-11-01T11:07:58.235" v="236" actId="5793"/>
          <ac:spMkLst>
            <pc:docMk/>
            <pc:sldMk cId="524086059" sldId="418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1T11:03:05.796" v="221" actId="20577"/>
          <ac:spMkLst>
            <pc:docMk/>
            <pc:sldMk cId="524086059" sldId="418"/>
            <ac:spMk id="12" creationId="{13B203F9-1E27-4E57-902E-B40C20ADA7DF}"/>
          </ac:spMkLst>
        </pc:spChg>
      </pc:sldChg>
      <pc:sldChg chg="modSp add del mod">
        <pc:chgData name="Stina Ru" userId="a298bcda0a73aae4" providerId="LiveId" clId="{FAAD7E85-9994-43FF-9F4E-AFCBA72781B2}" dt="2022-11-02T10:44:33.880" v="5597" actId="47"/>
        <pc:sldMkLst>
          <pc:docMk/>
          <pc:sldMk cId="2168945533" sldId="419"/>
        </pc:sldMkLst>
        <pc:spChg chg="mod">
          <ac:chgData name="Stina Ru" userId="a298bcda0a73aae4" providerId="LiveId" clId="{FAAD7E85-9994-43FF-9F4E-AFCBA72781B2}" dt="2022-11-02T10:19:45.500" v="5063" actId="20577"/>
          <ac:spMkLst>
            <pc:docMk/>
            <pc:sldMk cId="2168945533" sldId="419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2T09:36:23.376" v="4635" actId="20577"/>
          <ac:spMkLst>
            <pc:docMk/>
            <pc:sldMk cId="2168945533" sldId="419"/>
            <ac:spMk id="12" creationId="{13B203F9-1E27-4E57-902E-B40C20ADA7DF}"/>
          </ac:spMkLst>
        </pc:spChg>
      </pc:sldChg>
      <pc:sldChg chg="modSp add del mod">
        <pc:chgData name="Stina Ru" userId="a298bcda0a73aae4" providerId="LiveId" clId="{FAAD7E85-9994-43FF-9F4E-AFCBA72781B2}" dt="2022-11-01T20:12:42.579" v="2805" actId="47"/>
        <pc:sldMkLst>
          <pc:docMk/>
          <pc:sldMk cId="1472013849" sldId="420"/>
        </pc:sldMkLst>
        <pc:spChg chg="mod">
          <ac:chgData name="Stina Ru" userId="a298bcda0a73aae4" providerId="LiveId" clId="{FAAD7E85-9994-43FF-9F4E-AFCBA72781B2}" dt="2022-11-01T11:55:38.432" v="1173" actId="20577"/>
          <ac:spMkLst>
            <pc:docMk/>
            <pc:sldMk cId="1472013849" sldId="420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1T11:16:33.300" v="421" actId="20577"/>
          <ac:spMkLst>
            <pc:docMk/>
            <pc:sldMk cId="1472013849" sldId="420"/>
            <ac:spMk id="12" creationId="{13B203F9-1E27-4E57-902E-B40C20ADA7DF}"/>
          </ac:spMkLst>
        </pc:spChg>
      </pc:sldChg>
      <pc:sldChg chg="modSp add mod ord modAnim">
        <pc:chgData name="Stina Ru" userId="a298bcda0a73aae4" providerId="LiveId" clId="{FAAD7E85-9994-43FF-9F4E-AFCBA72781B2}" dt="2022-11-02T10:30:08.379" v="5485" actId="113"/>
        <pc:sldMkLst>
          <pc:docMk/>
          <pc:sldMk cId="617495542" sldId="421"/>
        </pc:sldMkLst>
        <pc:spChg chg="mod">
          <ac:chgData name="Stina Ru" userId="a298bcda0a73aae4" providerId="LiveId" clId="{FAAD7E85-9994-43FF-9F4E-AFCBA72781B2}" dt="2022-11-02T10:30:08.379" v="5485" actId="113"/>
          <ac:spMkLst>
            <pc:docMk/>
            <pc:sldMk cId="617495542" sldId="421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2T10:05:08.010" v="4994" actId="20577"/>
          <ac:spMkLst>
            <pc:docMk/>
            <pc:sldMk cId="617495542" sldId="421"/>
            <ac:spMk id="12" creationId="{13B203F9-1E27-4E57-902E-B40C20ADA7DF}"/>
          </ac:spMkLst>
        </pc:spChg>
      </pc:sldChg>
      <pc:sldChg chg="add del">
        <pc:chgData name="Stina Ru" userId="a298bcda0a73aae4" providerId="LiveId" clId="{FAAD7E85-9994-43FF-9F4E-AFCBA72781B2}" dt="2022-11-01T11:24:44.201" v="496" actId="47"/>
        <pc:sldMkLst>
          <pc:docMk/>
          <pc:sldMk cId="915152305" sldId="422"/>
        </pc:sldMkLst>
      </pc:sldChg>
      <pc:sldChg chg="modSp add mod ord modAnim">
        <pc:chgData name="Stina Ru" userId="a298bcda0a73aae4" providerId="LiveId" clId="{FAAD7E85-9994-43FF-9F4E-AFCBA72781B2}" dt="2022-11-02T10:32:26.099" v="5511" actId="113"/>
        <pc:sldMkLst>
          <pc:docMk/>
          <pc:sldMk cId="2729358789" sldId="422"/>
        </pc:sldMkLst>
        <pc:spChg chg="mod">
          <ac:chgData name="Stina Ru" userId="a298bcda0a73aae4" providerId="LiveId" clId="{FAAD7E85-9994-43FF-9F4E-AFCBA72781B2}" dt="2022-11-02T10:32:26.099" v="5511" actId="113"/>
          <ac:spMkLst>
            <pc:docMk/>
            <pc:sldMk cId="2729358789" sldId="422"/>
            <ac:spMk id="6" creationId="{070F7C74-9112-406B-A0CC-08F6DDA1D2AF}"/>
          </ac:spMkLst>
        </pc:spChg>
        <pc:spChg chg="mod">
          <ac:chgData name="Stina Ru" userId="a298bcda0a73aae4" providerId="LiveId" clId="{FAAD7E85-9994-43FF-9F4E-AFCBA72781B2}" dt="2022-11-02T10:15:56.529" v="5046" actId="20577"/>
          <ac:spMkLst>
            <pc:docMk/>
            <pc:sldMk cId="2729358789" sldId="422"/>
            <ac:spMk id="12" creationId="{13B203F9-1E27-4E57-902E-B40C20ADA7DF}"/>
          </ac:spMkLst>
        </pc:spChg>
      </pc:sldChg>
      <pc:sldChg chg="new del">
        <pc:chgData name="Stina Ru" userId="a298bcda0a73aae4" providerId="LiveId" clId="{FAAD7E85-9994-43FF-9F4E-AFCBA72781B2}" dt="2022-11-01T11:58:31.028" v="1175" actId="680"/>
        <pc:sldMkLst>
          <pc:docMk/>
          <pc:sldMk cId="1130864225" sldId="423"/>
        </pc:sldMkLst>
      </pc:sldChg>
      <pc:sldChg chg="addSp delSp modSp new mod">
        <pc:chgData name="Stina Ru" userId="a298bcda0a73aae4" providerId="LiveId" clId="{FAAD7E85-9994-43FF-9F4E-AFCBA72781B2}" dt="2022-11-02T10:20:54.379" v="5070" actId="113"/>
        <pc:sldMkLst>
          <pc:docMk/>
          <pc:sldMk cId="3077066136" sldId="423"/>
        </pc:sldMkLst>
        <pc:spChg chg="mod">
          <ac:chgData name="Stina Ru" userId="a298bcda0a73aae4" providerId="LiveId" clId="{FAAD7E85-9994-43FF-9F4E-AFCBA72781B2}" dt="2022-11-02T10:20:54.379" v="5070" actId="113"/>
          <ac:spMkLst>
            <pc:docMk/>
            <pc:sldMk cId="3077066136" sldId="423"/>
            <ac:spMk id="2" creationId="{52788F97-D1DB-9DF5-A49F-6EEBDDE94958}"/>
          </ac:spMkLst>
        </pc:spChg>
        <pc:spChg chg="del">
          <ac:chgData name="Stina Ru" userId="a298bcda0a73aae4" providerId="LiveId" clId="{FAAD7E85-9994-43FF-9F4E-AFCBA72781B2}" dt="2022-11-01T11:59:05.584" v="1230" actId="478"/>
          <ac:spMkLst>
            <pc:docMk/>
            <pc:sldMk cId="3077066136" sldId="423"/>
            <ac:spMk id="5" creationId="{07E6C5EA-4D2D-1E31-FDD5-A69361C85C16}"/>
          </ac:spMkLst>
        </pc:spChg>
        <pc:spChg chg="add mod">
          <ac:chgData name="Stina Ru" userId="a298bcda0a73aae4" providerId="LiveId" clId="{FAAD7E85-9994-43FF-9F4E-AFCBA72781B2}" dt="2022-11-01T12:20:21.543" v="1750" actId="113"/>
          <ac:spMkLst>
            <pc:docMk/>
            <pc:sldMk cId="3077066136" sldId="423"/>
            <ac:spMk id="6" creationId="{1E1C33A2-7090-7FF2-33EF-D47955756D54}"/>
          </ac:spMkLst>
        </pc:spChg>
      </pc:sldChg>
      <pc:sldChg chg="add del">
        <pc:chgData name="Stina Ru" userId="a298bcda0a73aae4" providerId="LiveId" clId="{FAAD7E85-9994-43FF-9F4E-AFCBA72781B2}" dt="2022-11-01T12:03:43.255" v="1315" actId="47"/>
        <pc:sldMkLst>
          <pc:docMk/>
          <pc:sldMk cId="729304626" sldId="424"/>
        </pc:sldMkLst>
      </pc:sldChg>
      <pc:sldChg chg="addSp delSp modSp add mod">
        <pc:chgData name="Stina Ru" userId="a298bcda0a73aae4" providerId="LiveId" clId="{FAAD7E85-9994-43FF-9F4E-AFCBA72781B2}" dt="2022-11-01T20:42:29.706" v="2821" actId="20577"/>
        <pc:sldMkLst>
          <pc:docMk/>
          <pc:sldMk cId="2758126125" sldId="425"/>
        </pc:sldMkLst>
        <pc:spChg chg="mod">
          <ac:chgData name="Stina Ru" userId="a298bcda0a73aae4" providerId="LiveId" clId="{FAAD7E85-9994-43FF-9F4E-AFCBA72781B2}" dt="2022-11-01T12:49:25.571" v="2213"/>
          <ac:spMkLst>
            <pc:docMk/>
            <pc:sldMk cId="2758126125" sldId="425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1T12:49:28.790" v="2215"/>
          <ac:spMkLst>
            <pc:docMk/>
            <pc:sldMk cId="2758126125" sldId="425"/>
            <ac:spMk id="3" creationId="{62E373E2-E479-4B85-B011-875D0EA60F4A}"/>
          </ac:spMkLst>
        </pc:spChg>
        <pc:spChg chg="mod">
          <ac:chgData name="Stina Ru" userId="a298bcda0a73aae4" providerId="LiveId" clId="{FAAD7E85-9994-43FF-9F4E-AFCBA72781B2}" dt="2022-11-01T12:51:47.667" v="2292" actId="1076"/>
          <ac:spMkLst>
            <pc:docMk/>
            <pc:sldMk cId="2758126125" sldId="425"/>
            <ac:spMk id="12" creationId="{138DE2EE-AEED-473A-B397-93896B4B99FF}"/>
          </ac:spMkLst>
        </pc:spChg>
        <pc:spChg chg="mod">
          <ac:chgData name="Stina Ru" userId="a298bcda0a73aae4" providerId="LiveId" clId="{FAAD7E85-9994-43FF-9F4E-AFCBA72781B2}" dt="2022-11-01T12:51:59.051" v="2293" actId="1076"/>
          <ac:spMkLst>
            <pc:docMk/>
            <pc:sldMk cId="2758126125" sldId="425"/>
            <ac:spMk id="13" creationId="{5AD41621-1F9C-486F-9463-67848331CCDD}"/>
          </ac:spMkLst>
        </pc:spChg>
        <pc:spChg chg="mod">
          <ac:chgData name="Stina Ru" userId="a298bcda0a73aae4" providerId="LiveId" clId="{FAAD7E85-9994-43FF-9F4E-AFCBA72781B2}" dt="2022-11-01T12:52:06.976" v="2294" actId="1076"/>
          <ac:spMkLst>
            <pc:docMk/>
            <pc:sldMk cId="2758126125" sldId="425"/>
            <ac:spMk id="14" creationId="{CB2FC5C4-1192-4562-8DB6-0026558EE3EE}"/>
          </ac:spMkLst>
        </pc:spChg>
        <pc:spChg chg="mod">
          <ac:chgData name="Stina Ru" userId="a298bcda0a73aae4" providerId="LiveId" clId="{FAAD7E85-9994-43FF-9F4E-AFCBA72781B2}" dt="2022-11-01T12:52:11.621" v="2295" actId="1076"/>
          <ac:spMkLst>
            <pc:docMk/>
            <pc:sldMk cId="2758126125" sldId="425"/>
            <ac:spMk id="15" creationId="{7502C344-FAEB-473A-93C2-EEA0ECBA88D9}"/>
          </ac:spMkLst>
        </pc:spChg>
        <pc:spChg chg="add mod">
          <ac:chgData name="Stina Ru" userId="a298bcda0a73aae4" providerId="LiveId" clId="{FAAD7E85-9994-43FF-9F4E-AFCBA72781B2}" dt="2022-11-01T20:42:29.706" v="2821" actId="20577"/>
          <ac:spMkLst>
            <pc:docMk/>
            <pc:sldMk cId="2758126125" sldId="425"/>
            <ac:spMk id="17" creationId="{6A5E0028-6D33-6ED4-4D4F-62B97B1F5A8D}"/>
          </ac:spMkLst>
        </pc:spChg>
        <pc:spChg chg="add mod">
          <ac:chgData name="Stina Ru" userId="a298bcda0a73aae4" providerId="LiveId" clId="{FAAD7E85-9994-43FF-9F4E-AFCBA72781B2}" dt="2022-11-01T12:51:11.177" v="2290" actId="1076"/>
          <ac:spMkLst>
            <pc:docMk/>
            <pc:sldMk cId="2758126125" sldId="425"/>
            <ac:spMk id="20" creationId="{054CF437-58A0-917E-DEAD-59A77A98DEE9}"/>
          </ac:spMkLst>
        </pc:spChg>
        <pc:spChg chg="add mod">
          <ac:chgData name="Stina Ru" userId="a298bcda0a73aae4" providerId="LiveId" clId="{FAAD7E85-9994-43FF-9F4E-AFCBA72781B2}" dt="2022-11-01T12:51:14.904" v="2291" actId="20577"/>
          <ac:spMkLst>
            <pc:docMk/>
            <pc:sldMk cId="2758126125" sldId="425"/>
            <ac:spMk id="21" creationId="{9CB563BF-2BD2-D9D5-4D47-A5B57ADD984F}"/>
          </ac:spMkLst>
        </pc:spChg>
        <pc:picChg chg="add mod">
          <ac:chgData name="Stina Ru" userId="a298bcda0a73aae4" providerId="LiveId" clId="{FAAD7E85-9994-43FF-9F4E-AFCBA72781B2}" dt="2022-11-01T12:52:20.944" v="2297" actId="14100"/>
          <ac:picMkLst>
            <pc:docMk/>
            <pc:sldMk cId="2758126125" sldId="425"/>
            <ac:picMk id="7" creationId="{EEF9C987-E491-5252-999B-20BA2BE02B90}"/>
          </ac:picMkLst>
        </pc:picChg>
        <pc:picChg chg="add del">
          <ac:chgData name="Stina Ru" userId="a298bcda0a73aae4" providerId="LiveId" clId="{FAAD7E85-9994-43FF-9F4E-AFCBA72781B2}" dt="2022-11-01T12:46:25.039" v="2165" actId="22"/>
          <ac:picMkLst>
            <pc:docMk/>
            <pc:sldMk cId="2758126125" sldId="425"/>
            <ac:picMk id="9" creationId="{C1E111DA-ED19-4A63-05FD-4DC52C31C1D4}"/>
          </ac:picMkLst>
        </pc:picChg>
        <pc:picChg chg="del mod">
          <ac:chgData name="Stina Ru" userId="a298bcda0a73aae4" providerId="LiveId" clId="{FAAD7E85-9994-43FF-9F4E-AFCBA72781B2}" dt="2022-11-01T12:47:35.590" v="2191" actId="478"/>
          <ac:picMkLst>
            <pc:docMk/>
            <pc:sldMk cId="2758126125" sldId="425"/>
            <ac:picMk id="11" creationId="{4A2E5045-C97C-4D38-A42C-1ED2BF3BA145}"/>
          </ac:picMkLst>
        </pc:picChg>
        <pc:picChg chg="add mod ord">
          <ac:chgData name="Stina Ru" userId="a298bcda0a73aae4" providerId="LiveId" clId="{FAAD7E85-9994-43FF-9F4E-AFCBA72781B2}" dt="2022-11-01T12:48:46.807" v="2210" actId="14100"/>
          <ac:picMkLst>
            <pc:docMk/>
            <pc:sldMk cId="2758126125" sldId="425"/>
            <ac:picMk id="16" creationId="{BEDE4733-0EC0-CD6E-5805-E8B09BE4DAE0}"/>
          </ac:picMkLst>
        </pc:picChg>
        <pc:picChg chg="add del mod">
          <ac:chgData name="Stina Ru" userId="a298bcda0a73aae4" providerId="LiveId" clId="{FAAD7E85-9994-43FF-9F4E-AFCBA72781B2}" dt="2022-11-01T12:51:01.012" v="2287" actId="478"/>
          <ac:picMkLst>
            <pc:docMk/>
            <pc:sldMk cId="2758126125" sldId="425"/>
            <ac:picMk id="19" creationId="{FA1D48E3-9260-7AF5-DFFF-E06C2152D3F8}"/>
          </ac:picMkLst>
        </pc:picChg>
      </pc:sldChg>
      <pc:sldChg chg="modSp add mod">
        <pc:chgData name="Stina Ru" userId="a298bcda0a73aae4" providerId="LiveId" clId="{FAAD7E85-9994-43FF-9F4E-AFCBA72781B2}" dt="2022-11-02T10:36:51.730" v="5520" actId="113"/>
        <pc:sldMkLst>
          <pc:docMk/>
          <pc:sldMk cId="153268180" sldId="426"/>
        </pc:sldMkLst>
        <pc:spChg chg="mod">
          <ac:chgData name="Stina Ru" userId="a298bcda0a73aae4" providerId="LiveId" clId="{FAAD7E85-9994-43FF-9F4E-AFCBA72781B2}" dt="2022-11-02T10:36:51.730" v="5520" actId="113"/>
          <ac:spMkLst>
            <pc:docMk/>
            <pc:sldMk cId="153268180" sldId="426"/>
            <ac:spMk id="3" creationId="{62E373E2-E479-4B85-B011-875D0EA60F4A}"/>
          </ac:spMkLst>
        </pc:spChg>
      </pc:sldChg>
      <pc:sldChg chg="addSp delSp modSp add del mod ord">
        <pc:chgData name="Stina Ru" userId="a298bcda0a73aae4" providerId="LiveId" clId="{FAAD7E85-9994-43FF-9F4E-AFCBA72781B2}" dt="2022-11-02T10:25:23.639" v="5078" actId="47"/>
        <pc:sldMkLst>
          <pc:docMk/>
          <pc:sldMk cId="649610078" sldId="427"/>
        </pc:sldMkLst>
        <pc:spChg chg="mod">
          <ac:chgData name="Stina Ru" userId="a298bcda0a73aae4" providerId="LiveId" clId="{FAAD7E85-9994-43FF-9F4E-AFCBA72781B2}" dt="2022-11-02T00:38:25.588" v="4589" actId="20577"/>
          <ac:spMkLst>
            <pc:docMk/>
            <pc:sldMk cId="649610078" sldId="427"/>
            <ac:spMk id="3" creationId="{62E373E2-E479-4B85-B011-875D0EA60F4A}"/>
          </ac:spMkLst>
        </pc:spChg>
        <pc:spChg chg="add del">
          <ac:chgData name="Stina Ru" userId="a298bcda0a73aae4" providerId="LiveId" clId="{FAAD7E85-9994-43FF-9F4E-AFCBA72781B2}" dt="2022-11-01T12:20:37.508" v="1752" actId="22"/>
          <ac:spMkLst>
            <pc:docMk/>
            <pc:sldMk cId="649610078" sldId="427"/>
            <ac:spMk id="7" creationId="{4F8FFA23-0EC5-6744-9DFA-A2C38944E5AA}"/>
          </ac:spMkLst>
        </pc:spChg>
      </pc:sldChg>
      <pc:sldChg chg="modSp add mod">
        <pc:chgData name="Stina Ru" userId="a298bcda0a73aae4" providerId="LiveId" clId="{FAAD7E85-9994-43FF-9F4E-AFCBA72781B2}" dt="2022-11-01T12:20:50.861" v="1755" actId="113"/>
        <pc:sldMkLst>
          <pc:docMk/>
          <pc:sldMk cId="634955245" sldId="428"/>
        </pc:sldMkLst>
        <pc:spChg chg="mod">
          <ac:chgData name="Stina Ru" userId="a298bcda0a73aae4" providerId="LiveId" clId="{FAAD7E85-9994-43FF-9F4E-AFCBA72781B2}" dt="2022-11-01T12:20:50.861" v="1755" actId="113"/>
          <ac:spMkLst>
            <pc:docMk/>
            <pc:sldMk cId="634955245" sldId="428"/>
            <ac:spMk id="6" creationId="{1E1C33A2-7090-7FF2-33EF-D47955756D54}"/>
          </ac:spMkLst>
        </pc:spChg>
      </pc:sldChg>
      <pc:sldChg chg="modSp add mod">
        <pc:chgData name="Stina Ru" userId="a298bcda0a73aae4" providerId="LiveId" clId="{FAAD7E85-9994-43FF-9F4E-AFCBA72781B2}" dt="2022-11-01T12:42:31.801" v="2156" actId="20577"/>
        <pc:sldMkLst>
          <pc:docMk/>
          <pc:sldMk cId="1575947076" sldId="429"/>
        </pc:sldMkLst>
        <pc:spChg chg="mod">
          <ac:chgData name="Stina Ru" userId="a298bcda0a73aae4" providerId="LiveId" clId="{FAAD7E85-9994-43FF-9F4E-AFCBA72781B2}" dt="2022-11-01T12:42:31.801" v="2156" actId="20577"/>
          <ac:spMkLst>
            <pc:docMk/>
            <pc:sldMk cId="1575947076" sldId="429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1T12:37:14.997" v="2148" actId="14100"/>
          <ac:spMkLst>
            <pc:docMk/>
            <pc:sldMk cId="1575947076" sldId="429"/>
            <ac:spMk id="3" creationId="{62E373E2-E479-4B85-B011-875D0EA60F4A}"/>
          </ac:spMkLst>
        </pc:spChg>
      </pc:sldChg>
      <pc:sldChg chg="modSp add mod ord">
        <pc:chgData name="Stina Ru" userId="a298bcda0a73aae4" providerId="LiveId" clId="{FAAD7E85-9994-43FF-9F4E-AFCBA72781B2}" dt="2022-11-01T21:11:03.177" v="3357"/>
        <pc:sldMkLst>
          <pc:docMk/>
          <pc:sldMk cId="94928923" sldId="430"/>
        </pc:sldMkLst>
        <pc:spChg chg="mod">
          <ac:chgData name="Stina Ru" userId="a298bcda0a73aae4" providerId="LiveId" clId="{FAAD7E85-9994-43FF-9F4E-AFCBA72781B2}" dt="2022-11-01T12:54:58.605" v="2302" actId="113"/>
          <ac:spMkLst>
            <pc:docMk/>
            <pc:sldMk cId="94928923" sldId="430"/>
            <ac:spMk id="6" creationId="{1E1C33A2-7090-7FF2-33EF-D47955756D54}"/>
          </ac:spMkLst>
        </pc:spChg>
      </pc:sldChg>
      <pc:sldChg chg="modSp add del mod">
        <pc:chgData name="Stina Ru" userId="a298bcda0a73aae4" providerId="LiveId" clId="{FAAD7E85-9994-43FF-9F4E-AFCBA72781B2}" dt="2022-11-01T20:42:45.627" v="2822" actId="47"/>
        <pc:sldMkLst>
          <pc:docMk/>
          <pc:sldMk cId="2921425614" sldId="431"/>
        </pc:sldMkLst>
        <pc:spChg chg="mod">
          <ac:chgData name="Stina Ru" userId="a298bcda0a73aae4" providerId="LiveId" clId="{FAAD7E85-9994-43FF-9F4E-AFCBA72781B2}" dt="2022-11-01T12:56:16.590" v="2379" actId="313"/>
          <ac:spMkLst>
            <pc:docMk/>
            <pc:sldMk cId="2921425614" sldId="431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1T12:58:35.225" v="2454" actId="20577"/>
          <ac:spMkLst>
            <pc:docMk/>
            <pc:sldMk cId="2921425614" sldId="431"/>
            <ac:spMk id="3" creationId="{62E373E2-E479-4B85-B011-875D0EA60F4A}"/>
          </ac:spMkLst>
        </pc:spChg>
      </pc:sldChg>
      <pc:sldChg chg="modSp add mod">
        <pc:chgData name="Stina Ru" userId="a298bcda0a73aae4" providerId="LiveId" clId="{FAAD7E85-9994-43FF-9F4E-AFCBA72781B2}" dt="2022-11-02T10:41:40.519" v="5596" actId="20577"/>
        <pc:sldMkLst>
          <pc:docMk/>
          <pc:sldMk cId="2230897240" sldId="1145"/>
        </pc:sldMkLst>
        <pc:spChg chg="mod">
          <ac:chgData name="Stina Ru" userId="a298bcda0a73aae4" providerId="LiveId" clId="{FAAD7E85-9994-43FF-9F4E-AFCBA72781B2}" dt="2022-11-02T00:25:50.145" v="4513" actId="20577"/>
          <ac:spMkLst>
            <pc:docMk/>
            <pc:sldMk cId="2230897240" sldId="1145"/>
            <ac:spMk id="2" creationId="{2E8E55A0-73B3-4565-BA58-ACE5F64229D6}"/>
          </ac:spMkLst>
        </pc:spChg>
        <pc:spChg chg="mod">
          <ac:chgData name="Stina Ru" userId="a298bcda0a73aae4" providerId="LiveId" clId="{FAAD7E85-9994-43FF-9F4E-AFCBA72781B2}" dt="2022-11-02T10:41:40.519" v="5596" actId="20577"/>
          <ac:spMkLst>
            <pc:docMk/>
            <pc:sldMk cId="2230897240" sldId="1145"/>
            <ac:spMk id="9" creationId="{28CD78BF-FD21-4273-AC08-8CC747F9071D}"/>
          </ac:spMkLst>
        </pc:spChg>
      </pc:sldChg>
      <pc:sldChg chg="modSp add mod modTransition">
        <pc:chgData name="Stina Ru" userId="a298bcda0a73aae4" providerId="LiveId" clId="{FAAD7E85-9994-43FF-9F4E-AFCBA72781B2}" dt="2022-11-02T00:39:10.659" v="4593"/>
        <pc:sldMkLst>
          <pc:docMk/>
          <pc:sldMk cId="294796903" sldId="1146"/>
        </pc:sldMkLst>
        <pc:spChg chg="mod">
          <ac:chgData name="Stina Ru" userId="a298bcda0a73aae4" providerId="LiveId" clId="{FAAD7E85-9994-43FF-9F4E-AFCBA72781B2}" dt="2022-11-02T00:22:53.100" v="4326" actId="113"/>
          <ac:spMkLst>
            <pc:docMk/>
            <pc:sldMk cId="294796903" sldId="1146"/>
            <ac:spMk id="9" creationId="{28CD78BF-FD21-4273-AC08-8CC747F9071D}"/>
          </ac:spMkLst>
        </pc:spChg>
      </pc:sldChg>
      <pc:sldChg chg="modSp add mod">
        <pc:chgData name="Stina Ru" userId="a298bcda0a73aae4" providerId="LiveId" clId="{FAAD7E85-9994-43FF-9F4E-AFCBA72781B2}" dt="2022-11-02T10:40:21.338" v="5581" actId="20577"/>
        <pc:sldMkLst>
          <pc:docMk/>
          <pc:sldMk cId="1951183843" sldId="1147"/>
        </pc:sldMkLst>
        <pc:spChg chg="mod">
          <ac:chgData name="Stina Ru" userId="a298bcda0a73aae4" providerId="LiveId" clId="{FAAD7E85-9994-43FF-9F4E-AFCBA72781B2}" dt="2022-11-02T10:40:21.338" v="5581" actId="20577"/>
          <ac:spMkLst>
            <pc:docMk/>
            <pc:sldMk cId="1951183843" sldId="1147"/>
            <ac:spMk id="6" creationId="{070F7C74-9112-406B-A0CC-08F6DDA1D2A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6336704" cy="1477327"/>
          </a:xfrm>
        </p:spPr>
        <p:txBody>
          <a:bodyPr anchor="t">
            <a:normAutofit/>
          </a:bodyPr>
          <a:lstStyle/>
          <a:p>
            <a:r>
              <a:rPr lang="de-DE" sz="3300"/>
              <a:t>Tutorium zur VL. Sitzung (3) und (4)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/>
          </a:p>
          <a:p>
            <a:pPr marL="0" indent="0">
              <a:lnSpc>
                <a:spcPct val="90000"/>
              </a:lnSpc>
              <a:buNone/>
            </a:pPr>
            <a:endParaRPr lang="de-DE" sz="1200"/>
          </a:p>
          <a:p>
            <a:pPr marL="0" indent="0">
              <a:lnSpc>
                <a:spcPct val="90000"/>
              </a:lnSpc>
              <a:buNone/>
            </a:pPr>
            <a:r>
              <a:rPr lang="de-DE" sz="2000"/>
              <a:t>Sozialstruktur und sozialer Wandel</a:t>
            </a:r>
            <a:endParaRPr lang="de-DE" sz="1200"/>
          </a:p>
          <a:p>
            <a:pPr marL="0" indent="0">
              <a:lnSpc>
                <a:spcPct val="90000"/>
              </a:lnSpc>
              <a:buNone/>
            </a:pPr>
            <a:endParaRPr lang="de-DE" sz="12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1) </a:t>
            </a:r>
            <a:r>
              <a:rPr lang="de-DE" b="1"/>
              <a:t>Schichten</a:t>
            </a:r>
            <a:r>
              <a:rPr lang="de-DE"/>
              <a:t> nach Bolte: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064440" cy="4462062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b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Weiterentwicklung marxistischem Denk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Ungleichheit durch </a:t>
            </a:r>
            <a:r>
              <a:rPr lang="de-DE" sz="1800"/>
              <a:t>berufliche Hierarchi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Zeigt sich durch </a:t>
            </a:r>
            <a:r>
              <a:rPr lang="de-DE" sz="1800"/>
              <a:t>Abstufung der Lebenslagen </a:t>
            </a:r>
            <a:r>
              <a:rPr lang="de-DE" sz="1800" b="0"/>
              <a:t>aufgrund unterschiedlichen Niveaus in </a:t>
            </a:r>
            <a:r>
              <a:rPr lang="de-DE" sz="1800"/>
              <a:t>Bildung, Einkommen und Presti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Nicht zwangsweise Gemeinschaftsbewusstsein </a:t>
            </a:r>
            <a:r>
              <a:rPr lang="de-DE" sz="1800" b="0"/>
              <a:t>der Schichtangehöri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5947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BEDE4733-0EC0-CD6E-5805-E8B09BE4D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9624" y="1833437"/>
            <a:ext cx="2984335" cy="252762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chichtmodell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202050"/>
            <a:ext cx="8604728" cy="3366000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/>
              <a:t>„Bolte Zwiebel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138DE2EE-AEED-473A-B397-93896B4B99FF}"/>
              </a:ext>
            </a:extLst>
          </p:cNvPr>
          <p:cNvSpPr/>
          <p:nvPr/>
        </p:nvSpPr>
        <p:spPr>
          <a:xfrm>
            <a:off x="450000" y="1761847"/>
            <a:ext cx="1763768" cy="401517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Grafik beschreib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AD41621-1F9C-486F-9463-67848331CCDD}"/>
              </a:ext>
            </a:extLst>
          </p:cNvPr>
          <p:cNvSpPr/>
          <p:nvPr/>
        </p:nvSpPr>
        <p:spPr>
          <a:xfrm>
            <a:off x="438151" y="2334028"/>
            <a:ext cx="1763768" cy="36595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Dominante Gruppe</a:t>
            </a:r>
            <a:r>
              <a:rPr lang="de-DE" i="1"/>
              <a:t>?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CB2FC5C4-1192-4562-8DB6-0026558EE3EE}"/>
              </a:ext>
            </a:extLst>
          </p:cNvPr>
          <p:cNvSpPr/>
          <p:nvPr/>
        </p:nvSpPr>
        <p:spPr>
          <a:xfrm>
            <a:off x="441375" y="2876646"/>
            <a:ext cx="1763768" cy="36595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Striche?</a:t>
            </a:r>
            <a:endParaRPr lang="de-DE" i="1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7502C344-FAEB-473A-93C2-EEA0ECBA88D9}"/>
              </a:ext>
            </a:extLst>
          </p:cNvPr>
          <p:cNvSpPr/>
          <p:nvPr/>
        </p:nvSpPr>
        <p:spPr>
          <a:xfrm>
            <a:off x="441375" y="3397672"/>
            <a:ext cx="1763768" cy="36595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unkte?</a:t>
            </a:r>
            <a:endParaRPr lang="de-DE" i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EF9C987-E491-5252-999B-20BA2BE02B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446" y="2334028"/>
            <a:ext cx="3937274" cy="1933483"/>
          </a:xfrm>
          <a:prstGeom prst="rect">
            <a:avLst/>
          </a:prstGeom>
        </p:spPr>
      </p:pic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6A5E0028-6D33-6ED4-4D4F-62B97B1F5A8D}"/>
              </a:ext>
            </a:extLst>
          </p:cNvPr>
          <p:cNvSpPr/>
          <p:nvPr/>
        </p:nvSpPr>
        <p:spPr>
          <a:xfrm>
            <a:off x="432818" y="3922553"/>
            <a:ext cx="1763768" cy="365952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Unterschiede?</a:t>
            </a:r>
            <a:endParaRPr lang="de-DE" i="1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54CF437-58A0-917E-DEAD-59A77A98DEE9}"/>
              </a:ext>
            </a:extLst>
          </p:cNvPr>
          <p:cNvSpPr txBox="1"/>
          <p:nvPr/>
        </p:nvSpPr>
        <p:spPr>
          <a:xfrm>
            <a:off x="3419872" y="1441380"/>
            <a:ext cx="14401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Vorindustri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CB563BF-2BD2-D9D5-4D47-A5B57ADD984F}"/>
              </a:ext>
            </a:extLst>
          </p:cNvPr>
          <p:cNvSpPr txBox="1"/>
          <p:nvPr/>
        </p:nvSpPr>
        <p:spPr>
          <a:xfrm>
            <a:off x="6646235" y="1441380"/>
            <a:ext cx="202976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Hochindustriell 1960er</a:t>
            </a:r>
          </a:p>
        </p:txBody>
      </p:sp>
    </p:spTree>
    <p:extLst>
      <p:ext uri="{BB962C8B-B14F-4D97-AF65-F5344CB8AC3E}">
        <p14:creationId xmlns:p14="http://schemas.microsoft.com/office/powerpoint/2010/main" val="2758126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B9166DC-F645-4E5E-B976-7477B34BA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7905" y="460525"/>
            <a:ext cx="5436096" cy="312971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“Bolte Zwiebel“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700" y="2499742"/>
            <a:ext cx="8604728" cy="205024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Zentrales Schichtmodell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Einteilung in Ober-Mittel-Unterschich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/>
              <a:t>Mittelschicht</a:t>
            </a:r>
            <a:r>
              <a:rPr lang="de-DE" sz="1800" b="0"/>
              <a:t> als quantitativ </a:t>
            </a:r>
            <a:r>
              <a:rPr lang="de-DE" sz="1800"/>
              <a:t>dominante Grupp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Aufstiegschancen &amp; </a:t>
            </a:r>
            <a:r>
              <a:rPr lang="de-DE" sz="1800"/>
              <a:t>Mobilitätschancen</a:t>
            </a:r>
            <a:r>
              <a:rPr lang="de-DE" sz="1800" b="0"/>
              <a:t> ins „Benachbarte“ (</a:t>
            </a:r>
            <a:r>
              <a:rPr lang="de-DE" sz="1800"/>
              <a:t>Striche</a:t>
            </a:r>
            <a:r>
              <a:rPr lang="de-DE" sz="1800" b="0"/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Unterste und oberste Schichten hermetisch </a:t>
            </a:r>
            <a:r>
              <a:rPr lang="de-DE" sz="1800"/>
              <a:t>abgeschlossen</a:t>
            </a:r>
            <a:r>
              <a:rPr lang="de-DE" sz="1800" b="0"/>
              <a:t> (</a:t>
            </a:r>
            <a:r>
              <a:rPr lang="de-DE" sz="1800"/>
              <a:t>Punkte</a:t>
            </a:r>
            <a:r>
              <a:rPr lang="de-DE" sz="1800" b="0"/>
              <a:t>)</a:t>
            </a:r>
          </a:p>
          <a:p>
            <a:pPr>
              <a:lnSpc>
                <a:spcPct val="150000"/>
              </a:lnSpc>
            </a:pP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268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162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Neuere Modelle: Sozialer Raum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8ACF7-9180-449A-B954-AE44592CA2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630000"/>
            <a:ext cx="8496488" cy="367656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/>
              <a:t>Pierre </a:t>
            </a:r>
            <a:r>
              <a:rPr lang="de-DE" sz="1800" b="0">
                <a:highlight>
                  <a:srgbClr val="FFFF00"/>
                </a:highlight>
              </a:rPr>
              <a:t>Bourdieu</a:t>
            </a:r>
            <a:r>
              <a:rPr lang="de-DE" sz="1800" b="0"/>
              <a:t>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Klassenmodell, aber betrachtet vertikale UND horizontale Ungleichheiten</a:t>
            </a:r>
          </a:p>
          <a:p>
            <a:pPr marL="285750" indent="-285750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800" b="0"/>
              <a:t>Geht von drei Klassen aus (1. Oberklasse 2. Mittelklasse, 3. Arbeiterklasse)</a:t>
            </a:r>
          </a:p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de-DE" sz="1100" b="0"/>
              <a:t>                                                                                 + herrschend, setzen Standards                                   - wenig Einfluss auf Wertordn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Verortung in Klassen nicht über Produktionsmittel, sondern über </a:t>
            </a:r>
            <a:r>
              <a:rPr lang="de-DE" sz="1800"/>
              <a:t>Verortung im sozialen Raum</a:t>
            </a:r>
          </a:p>
          <a:p>
            <a:r>
              <a:rPr lang="de-DE" sz="1800" b="0"/>
              <a:t>                            Besteht aus den Bausteinen:</a:t>
            </a:r>
          </a:p>
          <a:p>
            <a:endParaRPr lang="de-DE" sz="1800" b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Soziale Position wird bestimmt durch </a:t>
            </a:r>
            <a:r>
              <a:rPr lang="de-DE" sz="1800"/>
              <a:t>Summe</a:t>
            </a:r>
            <a:r>
              <a:rPr lang="de-DE" sz="1800" b="0"/>
              <a:t> und </a:t>
            </a:r>
            <a:r>
              <a:rPr lang="de-DE" sz="1800"/>
              <a:t>Struktur (!)</a:t>
            </a:r>
            <a:r>
              <a:rPr lang="de-DE" sz="1800" b="0"/>
              <a:t> des </a:t>
            </a:r>
            <a:r>
              <a:rPr lang="de-DE" sz="1800"/>
              <a:t>vorhandenen Kapitals </a:t>
            </a:r>
            <a:r>
              <a:rPr lang="de-DE" sz="1800">
                <a:sym typeface="Wingdings" panose="05000000000000000000" pitchFamily="2" charset="2"/>
              </a:rPr>
              <a:t> „Feinen Unterschiede“</a:t>
            </a:r>
            <a:endParaRPr lang="de-DE" sz="1800" b="0" i="1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Betitelt </a:t>
            </a:r>
            <a:r>
              <a:rPr lang="de-DE" sz="1800"/>
              <a:t>4 Kapitalarten </a:t>
            </a:r>
          </a:p>
          <a:p>
            <a:endParaRPr lang="de-DE" sz="1800" b="0"/>
          </a:p>
          <a:p>
            <a:endParaRPr lang="de-DE" sz="1800" b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626CC5C-29B9-4A82-9168-EBE21AC7C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115444"/>
              </p:ext>
            </p:extLst>
          </p:nvPr>
        </p:nvGraphicFramePr>
        <p:xfrm>
          <a:off x="971600" y="3008630"/>
          <a:ext cx="165595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956">
                  <a:extLst>
                    <a:ext uri="{9D8B030D-6E8A-4147-A177-3AD203B41FA5}">
                      <a16:colId xmlns:a16="http://schemas.microsoft.com/office/drawing/2014/main" val="39648450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1"/>
                        <a:t>SOZIALER RA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3505397"/>
                  </a:ext>
                </a:extLst>
              </a:tr>
            </a:tbl>
          </a:graphicData>
        </a:graphic>
      </p:graphicFrame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7B5739BB-49AE-FC13-4A94-3859B2D8E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329150"/>
              </p:ext>
            </p:extLst>
          </p:nvPr>
        </p:nvGraphicFramePr>
        <p:xfrm>
          <a:off x="4381872" y="2942590"/>
          <a:ext cx="4608512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795">
                  <a:extLst>
                    <a:ext uri="{9D8B030D-6E8A-4147-A177-3AD203B41FA5}">
                      <a16:colId xmlns:a16="http://schemas.microsoft.com/office/drawing/2014/main" val="3828909221"/>
                    </a:ext>
                  </a:extLst>
                </a:gridCol>
                <a:gridCol w="2962717">
                  <a:extLst>
                    <a:ext uri="{9D8B030D-6E8A-4147-A177-3AD203B41FA5}">
                      <a16:colId xmlns:a16="http://schemas.microsoft.com/office/drawing/2014/main" val="35393816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/>
                        <a:t>1. Soziale 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/>
                        <a:t>2. Habitus = geprägtes Schema des Wahrnehmens- Denkens- Hande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558510"/>
                  </a:ext>
                </a:extLst>
              </a:tr>
            </a:tbl>
          </a:graphicData>
        </a:graphic>
      </p:graphicFrame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850818C6-E3A2-C65E-5BBA-4E41D2809A05}"/>
              </a:ext>
            </a:extLst>
          </p:cNvPr>
          <p:cNvCxnSpPr/>
          <p:nvPr/>
        </p:nvCxnSpPr>
        <p:spPr>
          <a:xfrm>
            <a:off x="2915816" y="3219822"/>
            <a:ext cx="1008112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571099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Kapitalarten nach Bourdieu: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4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8ACF7-9180-449A-B954-AE44592CA2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7920424" cy="336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  <a:p>
            <a:pPr>
              <a:lnSpc>
                <a:spcPct val="100000"/>
              </a:lnSpc>
            </a:pPr>
            <a:endParaRPr lang="de-DE" sz="1100" b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626CC5C-29B9-4A82-9168-EBE21AC7C19A}"/>
              </a:ext>
            </a:extLst>
          </p:cNvPr>
          <p:cNvGraphicFramePr>
            <a:graphicFrameLocks noGrp="1"/>
          </p:cNvGraphicFramePr>
          <p:nvPr/>
        </p:nvGraphicFramePr>
        <p:xfrm>
          <a:off x="5004048" y="396000"/>
          <a:ext cx="172819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39648450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1. Soziale Posi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3505397"/>
                  </a:ext>
                </a:extLst>
              </a:tr>
            </a:tbl>
          </a:graphicData>
        </a:graphic>
      </p:graphicFrame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6C4308B4-F82F-4A4F-9530-C94F91D16E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946095"/>
              </p:ext>
            </p:extLst>
          </p:nvPr>
        </p:nvGraphicFramePr>
        <p:xfrm>
          <a:off x="324000" y="849239"/>
          <a:ext cx="8568480" cy="3594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3006">
                  <a:extLst>
                    <a:ext uri="{9D8B030D-6E8A-4147-A177-3AD203B41FA5}">
                      <a16:colId xmlns:a16="http://schemas.microsoft.com/office/drawing/2014/main" val="4039578393"/>
                    </a:ext>
                  </a:extLst>
                </a:gridCol>
                <a:gridCol w="4505077">
                  <a:extLst>
                    <a:ext uri="{9D8B030D-6E8A-4147-A177-3AD203B41FA5}">
                      <a16:colId xmlns:a16="http://schemas.microsoft.com/office/drawing/2014/main" val="339947955"/>
                    </a:ext>
                  </a:extLst>
                </a:gridCol>
                <a:gridCol w="1570397">
                  <a:extLst>
                    <a:ext uri="{9D8B030D-6E8A-4147-A177-3AD203B41FA5}">
                      <a16:colId xmlns:a16="http://schemas.microsoft.com/office/drawing/2014/main" val="3724645571"/>
                    </a:ext>
                  </a:extLst>
                </a:gridCol>
              </a:tblGrid>
              <a:tr h="627786">
                <a:tc>
                  <a:txBody>
                    <a:bodyPr/>
                    <a:lstStyle/>
                    <a:p>
                      <a:r>
                        <a:rPr lang="de-DE" sz="1200"/>
                        <a:t>Kapital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Beschreib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Bei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114144"/>
                  </a:ext>
                </a:extLst>
              </a:tr>
              <a:tr h="627786">
                <a:tc>
                  <a:txBody>
                    <a:bodyPr/>
                    <a:lstStyle/>
                    <a:p>
                      <a:r>
                        <a:rPr lang="de-DE" sz="1200"/>
                        <a:t>Ökonom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3797525"/>
                  </a:ext>
                </a:extLst>
              </a:tr>
              <a:tr h="1083575">
                <a:tc>
                  <a:txBody>
                    <a:bodyPr/>
                    <a:lstStyle/>
                    <a:p>
                      <a:r>
                        <a:rPr lang="de-DE" sz="1200"/>
                        <a:t>Kulturel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de-DE" sz="1200"/>
                        <a:t>Inkorporiertes Kulturkapital =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de-DE" sz="1200"/>
                        <a:t>Objektiviertes Kulturkapital = </a:t>
                      </a:r>
                    </a:p>
                    <a:p>
                      <a:r>
                        <a:rPr lang="de-DE" sz="1200"/>
                        <a:t>3. Institutionalisiertes Kulturkapital =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720670"/>
                  </a:ext>
                </a:extLst>
              </a:tr>
              <a:tr h="627786">
                <a:tc>
                  <a:txBody>
                    <a:bodyPr/>
                    <a:lstStyle/>
                    <a:p>
                      <a:r>
                        <a:rPr lang="de-DE" sz="1200"/>
                        <a:t>Sozia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740771"/>
                  </a:ext>
                </a:extLst>
              </a:tr>
              <a:tr h="627786">
                <a:tc>
                  <a:txBody>
                    <a:bodyPr/>
                    <a:lstStyle/>
                    <a:p>
                      <a:r>
                        <a:rPr lang="de-DE" sz="1200"/>
                        <a:t>Symbol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0041052"/>
                  </a:ext>
                </a:extLst>
              </a:tr>
            </a:tbl>
          </a:graphicData>
        </a:graphic>
      </p:graphicFrame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BD2F7593-7C28-4143-B1F6-44BBBDE10EDA}"/>
              </a:ext>
            </a:extLst>
          </p:cNvPr>
          <p:cNvSpPr/>
          <p:nvPr/>
        </p:nvSpPr>
        <p:spPr>
          <a:xfrm>
            <a:off x="6765643" y="161999"/>
            <a:ext cx="1563555" cy="633240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Gemeinsam im Kurs ausfüllen</a:t>
            </a:r>
          </a:p>
        </p:txBody>
      </p:sp>
    </p:spTree>
    <p:extLst>
      <p:ext uri="{BB962C8B-B14F-4D97-AF65-F5344CB8AC3E}">
        <p14:creationId xmlns:p14="http://schemas.microsoft.com/office/powerpoint/2010/main" val="2836530040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Kapitalarten nach Bourdieu: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8ACF7-9180-449A-B954-AE44592CA2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7920424" cy="336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  <a:p>
            <a:pPr>
              <a:lnSpc>
                <a:spcPct val="100000"/>
              </a:lnSpc>
            </a:pPr>
            <a:endParaRPr lang="de-DE" sz="1100" b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626CC5C-29B9-4A82-9168-EBE21AC7C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337370"/>
              </p:ext>
            </p:extLst>
          </p:nvPr>
        </p:nvGraphicFramePr>
        <p:xfrm>
          <a:off x="4860032" y="396000"/>
          <a:ext cx="172819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39648450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1. Soziale Posi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3505397"/>
                  </a:ext>
                </a:extLst>
              </a:tr>
            </a:tbl>
          </a:graphicData>
        </a:graphic>
      </p:graphicFrame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6C4308B4-F82F-4A4F-9530-C94F91D16E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13587"/>
              </p:ext>
            </p:extLst>
          </p:nvPr>
        </p:nvGraphicFramePr>
        <p:xfrm>
          <a:off x="179512" y="867600"/>
          <a:ext cx="8856985" cy="32746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5622">
                  <a:extLst>
                    <a:ext uri="{9D8B030D-6E8A-4147-A177-3AD203B41FA5}">
                      <a16:colId xmlns:a16="http://schemas.microsoft.com/office/drawing/2014/main" val="4039578393"/>
                    </a:ext>
                  </a:extLst>
                </a:gridCol>
                <a:gridCol w="3875559">
                  <a:extLst>
                    <a:ext uri="{9D8B030D-6E8A-4147-A177-3AD203B41FA5}">
                      <a16:colId xmlns:a16="http://schemas.microsoft.com/office/drawing/2014/main" val="339947955"/>
                    </a:ext>
                  </a:extLst>
                </a:gridCol>
                <a:gridCol w="3135804">
                  <a:extLst>
                    <a:ext uri="{9D8B030D-6E8A-4147-A177-3AD203B41FA5}">
                      <a16:colId xmlns:a16="http://schemas.microsoft.com/office/drawing/2014/main" val="3724645571"/>
                    </a:ext>
                  </a:extLst>
                </a:gridCol>
              </a:tblGrid>
              <a:tr h="330914">
                <a:tc>
                  <a:txBody>
                    <a:bodyPr/>
                    <a:lstStyle/>
                    <a:p>
                      <a:r>
                        <a:rPr lang="de-DE" sz="1200"/>
                        <a:t>Kapital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Beschreib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Bei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114144"/>
                  </a:ext>
                </a:extLst>
              </a:tr>
              <a:tr h="407976">
                <a:tc>
                  <a:txBody>
                    <a:bodyPr/>
                    <a:lstStyle/>
                    <a:p>
                      <a:r>
                        <a:rPr lang="de-DE" sz="1200"/>
                        <a:t>Ökonom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/>
                        <a:t>Geld</a:t>
                      </a:r>
                      <a:r>
                        <a:rPr lang="de-DE" sz="1200"/>
                        <a:t> und </a:t>
                      </a:r>
                      <a:r>
                        <a:rPr lang="de-DE" sz="1200" b="1"/>
                        <a:t>Besi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/>
                        <a:t>Eigenheim</a:t>
                      </a:r>
                      <a:r>
                        <a:rPr lang="de-DE" sz="1200"/>
                        <a:t>, Gold, Kontostand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„</a:t>
                      </a:r>
                      <a:r>
                        <a:rPr lang="de-DE" sz="1200" i="1"/>
                        <a:t>alles was man kaufen kann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3797525"/>
                  </a:ext>
                </a:extLst>
              </a:tr>
              <a:tr h="1492100">
                <a:tc>
                  <a:txBody>
                    <a:bodyPr/>
                    <a:lstStyle/>
                    <a:p>
                      <a:r>
                        <a:rPr lang="de-DE" sz="1200"/>
                        <a:t>Kulturel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de-DE" sz="1200"/>
                        <a:t>Inkorporiertes Kulturkapital = </a:t>
                      </a:r>
                      <a:r>
                        <a:rPr lang="de-DE" sz="1200" b="1"/>
                        <a:t>Bildung/ Wissen</a:t>
                      </a:r>
                    </a:p>
                    <a:p>
                      <a:pPr marL="0" indent="0">
                        <a:buNone/>
                      </a:pPr>
                      <a:endParaRPr lang="de-DE" sz="1200"/>
                    </a:p>
                    <a:p>
                      <a:r>
                        <a:rPr lang="de-DE" sz="1200"/>
                        <a:t>2. Objektiviertes Kulturkapital = (leicht übertragbare) </a:t>
                      </a:r>
                      <a:r>
                        <a:rPr lang="de-DE" sz="1200" b="1"/>
                        <a:t>kulturelle Güter</a:t>
                      </a:r>
                    </a:p>
                    <a:p>
                      <a:endParaRPr lang="de-DE" sz="1200"/>
                    </a:p>
                    <a:p>
                      <a:r>
                        <a:rPr lang="de-DE" sz="1200"/>
                        <a:t>3. Institutionalisiertes Kulturkapital = institutionell </a:t>
                      </a:r>
                      <a:r>
                        <a:rPr lang="de-DE" sz="1200" b="1"/>
                        <a:t>anerkannte Titel</a:t>
                      </a:r>
                      <a:r>
                        <a:rPr lang="de-DE" sz="1200"/>
                        <a:t>, Zertifik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de-DE" sz="1200" b="1"/>
                        <a:t>Klavier spielen </a:t>
                      </a:r>
                      <a:r>
                        <a:rPr lang="de-DE" sz="1200"/>
                        <a:t>könne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i="1"/>
                        <a:t>.„langjährige Bildungsprozesse/-</a:t>
                      </a:r>
                      <a:r>
                        <a:rPr lang="de-DE" sz="1200" i="1" err="1"/>
                        <a:t>interesse</a:t>
                      </a:r>
                      <a:r>
                        <a:rPr lang="de-DE" sz="1200" i="1"/>
                        <a:t>“</a:t>
                      </a:r>
                      <a:endParaRPr lang="de-DE" sz="1200"/>
                    </a:p>
                    <a:p>
                      <a:pPr marL="0" indent="0">
                        <a:buNone/>
                      </a:pPr>
                      <a:endParaRPr lang="de-DE" sz="1200"/>
                    </a:p>
                    <a:p>
                      <a:r>
                        <a:rPr lang="de-DE" sz="1200"/>
                        <a:t>2. Designerkleidung, </a:t>
                      </a:r>
                      <a:r>
                        <a:rPr lang="de-DE" sz="1200" b="1"/>
                        <a:t>Bücherwand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i="1"/>
                        <a:t>„(leicht) nach außen präsentierte Bildung“</a:t>
                      </a:r>
                    </a:p>
                    <a:p>
                      <a:endParaRPr lang="de-DE" sz="1200"/>
                    </a:p>
                    <a:p>
                      <a:pPr marL="228600" indent="-228600">
                        <a:buAutoNum type="arabicPeriod" startAt="3"/>
                      </a:pPr>
                      <a:r>
                        <a:rPr lang="de-DE" sz="1200" b="1"/>
                        <a:t>Abiturzeugnis</a:t>
                      </a:r>
                      <a:r>
                        <a:rPr lang="de-DE" sz="1200"/>
                        <a:t>, Bachelorabschluss</a:t>
                      </a:r>
                    </a:p>
                    <a:p>
                      <a:pPr marL="0" indent="0">
                        <a:buNone/>
                      </a:pPr>
                      <a:r>
                        <a:rPr lang="de-DE" sz="1200" i="1"/>
                        <a:t>„welche Abschlüsse man hat“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720670"/>
                  </a:ext>
                </a:extLst>
              </a:tr>
              <a:tr h="474820">
                <a:tc>
                  <a:txBody>
                    <a:bodyPr/>
                    <a:lstStyle/>
                    <a:p>
                      <a:r>
                        <a:rPr lang="de-DE" sz="1200"/>
                        <a:t>Sozia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Zugehörigkeit zu einer Gruppe / </a:t>
                      </a:r>
                      <a:r>
                        <a:rPr lang="de-DE" sz="1200" b="1"/>
                        <a:t>Beziehungen</a:t>
                      </a:r>
                    </a:p>
                    <a:p>
                      <a:r>
                        <a:rPr lang="de-DE" sz="1200"/>
                        <a:t>Vitamin B, Netzwer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/>
                        <a:t>Freundeskreis</a:t>
                      </a:r>
                      <a:r>
                        <a:rPr lang="de-DE" sz="1200"/>
                        <a:t>, Sportverei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i="1"/>
                        <a:t>„nicht </a:t>
                      </a:r>
                      <a:r>
                        <a:rPr lang="de-DE" sz="1200" i="1" err="1"/>
                        <a:t>erkaufbar</a:t>
                      </a:r>
                      <a:r>
                        <a:rPr lang="de-DE" sz="1200" i="1"/>
                        <a:t>, bedarf Beziehungsarbeit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740771"/>
                  </a:ext>
                </a:extLst>
              </a:tr>
              <a:tr h="407976">
                <a:tc>
                  <a:txBody>
                    <a:bodyPr/>
                    <a:lstStyle/>
                    <a:p>
                      <a:r>
                        <a:rPr lang="de-DE" sz="1200"/>
                        <a:t>Symbol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Prestige und </a:t>
                      </a:r>
                      <a:r>
                        <a:rPr lang="de-DE" sz="1200" b="1"/>
                        <a:t>Anse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Hohes </a:t>
                      </a:r>
                      <a:r>
                        <a:rPr lang="de-DE" sz="1200" b="1"/>
                        <a:t>Ansehen</a:t>
                      </a:r>
                      <a:r>
                        <a:rPr lang="de-DE" sz="1200"/>
                        <a:t> von </a:t>
                      </a:r>
                      <a:r>
                        <a:rPr lang="de-DE" sz="1200" b="1"/>
                        <a:t>Ärzte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i="1"/>
                        <a:t>„wahrgenommenes Ansehen von Person X“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0041052"/>
                  </a:ext>
                </a:extLst>
              </a:tr>
            </a:tbl>
          </a:graphicData>
        </a:graphic>
      </p:graphicFrame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2D02816A-A47C-4580-AD8F-38068A9AC0DA}"/>
              </a:ext>
            </a:extLst>
          </p:cNvPr>
          <p:cNvSpPr/>
          <p:nvPr/>
        </p:nvSpPr>
        <p:spPr>
          <a:xfrm>
            <a:off x="6765643" y="103537"/>
            <a:ext cx="1563555" cy="633240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Musterlösung</a:t>
            </a:r>
          </a:p>
        </p:txBody>
      </p:sp>
    </p:spTree>
    <p:extLst>
      <p:ext uri="{BB962C8B-B14F-4D97-AF65-F5344CB8AC3E}">
        <p14:creationId xmlns:p14="http://schemas.microsoft.com/office/powerpoint/2010/main" val="330783411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788F97-D1DB-9DF5-A49F-6EEBDDE94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31590"/>
            <a:ext cx="7560000" cy="468000"/>
          </a:xfrm>
        </p:spPr>
        <p:txBody>
          <a:bodyPr/>
          <a:lstStyle/>
          <a:p>
            <a:r>
              <a:rPr lang="de-DE"/>
              <a:t>(4) Sitzung: die ‚großen drei‘ Ungleichh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739E0B-908B-A9ED-6062-EA2D488AB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7B9EA7-F765-7E65-557B-C9065DAA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E1C33A2-7090-7FF2-33EF-D47955756D54}"/>
              </a:ext>
            </a:extLst>
          </p:cNvPr>
          <p:cNvSpPr txBox="1">
            <a:spLocks/>
          </p:cNvSpPr>
          <p:nvPr/>
        </p:nvSpPr>
        <p:spPr>
          <a:xfrm>
            <a:off x="1979712" y="1751990"/>
            <a:ext cx="4968552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00" b="0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/>
              <a:t>1) Klasse, 2) Schicht, 3) </a:t>
            </a:r>
            <a:r>
              <a:rPr lang="de-DE" b="1"/>
              <a:t>Milieus</a:t>
            </a:r>
          </a:p>
        </p:txBody>
      </p:sp>
    </p:spTree>
    <p:extLst>
      <p:ext uri="{BB962C8B-B14F-4D97-AF65-F5344CB8AC3E}">
        <p14:creationId xmlns:p14="http://schemas.microsoft.com/office/powerpoint/2010/main" val="949289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Soziales Milieu: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7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1071647"/>
            <a:ext cx="8208456" cy="347270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/>
              <a:t>Soziale Milieus</a:t>
            </a:r>
          </a:p>
          <a:p>
            <a:pPr>
              <a:lnSpc>
                <a:spcPct val="100000"/>
              </a:lnSpc>
            </a:pPr>
            <a:r>
              <a:rPr lang="de-DE" sz="1800" b="0">
                <a:highlight>
                  <a:srgbClr val="FFFF00"/>
                </a:highlight>
              </a:rPr>
              <a:t>DEF</a:t>
            </a:r>
            <a:r>
              <a:rPr lang="de-DE" sz="1800" b="0" i="1"/>
              <a:t>=  </a:t>
            </a:r>
            <a:r>
              <a:rPr lang="de-DE" sz="1800" b="0"/>
              <a:t>„Gruppe </a:t>
            </a:r>
            <a:r>
              <a:rPr lang="de-DE" sz="1800"/>
              <a:t>Gleichgesinnter</a:t>
            </a:r>
            <a:r>
              <a:rPr lang="de-DE" sz="1800" b="0"/>
              <a:t>, die </a:t>
            </a:r>
            <a:r>
              <a:rPr lang="de-DE" sz="1800"/>
              <a:t>ähnliche Werthaltungen, Lebensführungen, Beziehungen </a:t>
            </a:r>
            <a:r>
              <a:rPr lang="de-DE" sz="1800" b="0"/>
              <a:t>zu Mitmenschen aufweisen. Haben oft gemeinsames Umfeld, sehen Dinge ähnlich.“ </a:t>
            </a:r>
            <a:r>
              <a:rPr lang="de-DE" sz="1100" b="0"/>
              <a:t>Kopp &amp; Schäfer 2010 </a:t>
            </a:r>
            <a:endParaRPr lang="de-DE" sz="1800" b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Kombi aus subjektiver Werthaltungen + soziokultureller Merkmale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Berücksichtigung vertikaler UND horizontaler Merkmale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95118384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Sinus Milieus: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1055446"/>
            <a:ext cx="2808312" cy="1516304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0"/>
              <a:t>Y- Achse= Soziale Lage</a:t>
            </a:r>
          </a:p>
          <a:p>
            <a:pPr>
              <a:lnSpc>
                <a:spcPct val="100000"/>
              </a:lnSpc>
            </a:pPr>
            <a:r>
              <a:rPr lang="de-DE" sz="1400" b="0"/>
              <a:t>„Schichtaufsteigend↑“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0"/>
              <a:t>X-Achse= Grundorientierung</a:t>
            </a:r>
          </a:p>
          <a:p>
            <a:pPr>
              <a:lnSpc>
                <a:spcPct val="100000"/>
              </a:lnSpc>
            </a:pPr>
            <a:r>
              <a:rPr lang="de-DE" sz="1400" b="0"/>
              <a:t>„wachsende modernere Orientierung“</a:t>
            </a:r>
            <a:endParaRPr lang="de-DE" sz="1800" b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469940-A0CA-4D51-9A53-0AF79556B5F0}"/>
              </a:ext>
            </a:extLst>
          </p:cNvPr>
          <p:cNvSpPr txBox="1"/>
          <p:nvPr/>
        </p:nvSpPr>
        <p:spPr>
          <a:xfrm>
            <a:off x="282650" y="3534115"/>
            <a:ext cx="70256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>
                <a:solidFill>
                  <a:schemeClr val="tx2"/>
                </a:solidFill>
              </a:rPr>
              <a:t>1. </a:t>
            </a:r>
            <a:r>
              <a:rPr lang="de-DE">
                <a:solidFill>
                  <a:schemeClr val="tx2"/>
                </a:solidFill>
                <a:sym typeface="Wingdings" panose="05000000000000000000" pitchFamily="2" charset="2"/>
              </a:rPr>
              <a:t>Beispiel: </a:t>
            </a:r>
            <a:r>
              <a:rPr lang="de-DE" i="1">
                <a:solidFill>
                  <a:schemeClr val="tx2"/>
                </a:solidFill>
                <a:sym typeface="Wingdings" panose="05000000000000000000" pitchFamily="2" charset="2"/>
              </a:rPr>
              <a:t>Führungsperson im traditionellen Familienbetrieb</a:t>
            </a:r>
            <a:endParaRPr lang="de-DE" i="1">
              <a:solidFill>
                <a:schemeClr val="tx2"/>
              </a:solidFill>
            </a:endParaRPr>
          </a:p>
          <a:p>
            <a:r>
              <a:rPr lang="de-DE">
                <a:solidFill>
                  <a:schemeClr val="tx2"/>
                </a:solidFill>
              </a:rPr>
              <a:t>2. </a:t>
            </a:r>
            <a:r>
              <a:rPr lang="de-DE">
                <a:solidFill>
                  <a:schemeClr val="tx2"/>
                </a:solidFill>
                <a:sym typeface="Wingdings" panose="05000000000000000000" pitchFamily="2" charset="2"/>
              </a:rPr>
              <a:t>Beispiel: </a:t>
            </a:r>
            <a:r>
              <a:rPr lang="de-DE" i="1">
                <a:solidFill>
                  <a:schemeClr val="tx2"/>
                </a:solidFill>
                <a:sym typeface="Wingdings" panose="05000000000000000000" pitchFamily="2" charset="2"/>
              </a:rPr>
              <a:t>Hipster</a:t>
            </a:r>
            <a:endParaRPr lang="de-DE" i="1">
              <a:solidFill>
                <a:schemeClr val="tx2"/>
              </a:solidFill>
            </a:endParaRPr>
          </a:p>
          <a:p>
            <a:r>
              <a:rPr lang="de-DE">
                <a:solidFill>
                  <a:schemeClr val="tx2"/>
                </a:solidFill>
              </a:rPr>
              <a:t>3. </a:t>
            </a:r>
            <a:r>
              <a:rPr lang="de-DE">
                <a:solidFill>
                  <a:schemeClr val="tx2"/>
                </a:solidFill>
                <a:sym typeface="Wingdings" panose="05000000000000000000" pitchFamily="2" charset="2"/>
              </a:rPr>
              <a:t>Beispiel: </a:t>
            </a:r>
            <a:r>
              <a:rPr lang="de-DE" i="1" err="1">
                <a:solidFill>
                  <a:schemeClr val="tx2"/>
                </a:solidFill>
                <a:sym typeface="Wingdings" panose="05000000000000000000" pitchFamily="2" charset="2"/>
              </a:rPr>
              <a:t>Fridays</a:t>
            </a:r>
            <a:r>
              <a:rPr lang="de-DE" i="1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de-DE" i="1" err="1">
                <a:solidFill>
                  <a:schemeClr val="tx2"/>
                </a:solidFill>
                <a:sym typeface="Wingdings" panose="05000000000000000000" pitchFamily="2" charset="2"/>
              </a:rPr>
              <a:t>For</a:t>
            </a:r>
            <a:r>
              <a:rPr lang="de-DE" i="1">
                <a:solidFill>
                  <a:schemeClr val="tx2"/>
                </a:solidFill>
                <a:sym typeface="Wingdings" panose="05000000000000000000" pitchFamily="2" charset="2"/>
              </a:rPr>
              <a:t> Future-Anhänger</a:t>
            </a:r>
          </a:p>
          <a:p>
            <a:r>
              <a:rPr lang="de-DE">
                <a:solidFill>
                  <a:schemeClr val="tx2"/>
                </a:solidFill>
              </a:rPr>
              <a:t>4. </a:t>
            </a:r>
            <a:r>
              <a:rPr lang="de-DE">
                <a:solidFill>
                  <a:schemeClr val="tx2"/>
                </a:solidFill>
                <a:sym typeface="Wingdings" panose="05000000000000000000" pitchFamily="2" charset="2"/>
              </a:rPr>
              <a:t>Beispiel: </a:t>
            </a:r>
            <a:r>
              <a:rPr lang="de-DE" i="1">
                <a:solidFill>
                  <a:schemeClr val="tx2"/>
                </a:solidFill>
                <a:sym typeface="Wingdings" panose="05000000000000000000" pitchFamily="2" charset="2"/>
              </a:rPr>
              <a:t>Zeitarbeiter bei Amazon </a:t>
            </a:r>
            <a:endParaRPr lang="de-DE" i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BEF123-E0FB-7997-1259-DC7A84891E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241" y="32646"/>
            <a:ext cx="5946759" cy="3583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918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 1.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9</a:t>
            </a:fld>
            <a:r>
              <a:rPr lang="de-DE" sz="700"/>
              <a:t> 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06B428EF-9C7A-4E57-8854-985A0A077E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03648" y="396000"/>
            <a:ext cx="5472608" cy="4076866"/>
          </a:xfrm>
        </p:spPr>
      </p:pic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74902559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Gleichheit vs. soziale Ungleichheit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927015"/>
            <a:ext cx="8208456" cy="347270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/>
              <a:t>Gleichheit </a:t>
            </a:r>
            <a:r>
              <a:rPr lang="de-DE" sz="1800" b="0">
                <a:highlight>
                  <a:srgbClr val="FFFF00"/>
                </a:highlight>
              </a:rPr>
              <a:t>DEF</a:t>
            </a:r>
            <a:r>
              <a:rPr lang="de-DE" sz="1800" b="0" i="1"/>
              <a:t>=  „</a:t>
            </a:r>
            <a:r>
              <a:rPr lang="de-DE" sz="1800" b="0"/>
              <a:t>das demokratische Grundprinzip, dass </a:t>
            </a:r>
            <a:r>
              <a:rPr lang="de-DE" sz="1800"/>
              <a:t>alle Menschen vor dem Gesetz gleich </a:t>
            </a:r>
            <a:r>
              <a:rPr lang="de-DE" sz="1800" b="0"/>
              <a:t>sind“ </a:t>
            </a:r>
            <a:r>
              <a:rPr lang="de-DE" sz="1100" b="0"/>
              <a:t>Schubert &amp; Klein 2018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Im GG </a:t>
            </a:r>
            <a:r>
              <a:rPr lang="de-DE" sz="1800" b="0">
                <a:sym typeface="Wingdings" panose="05000000000000000000" pitchFamily="2" charset="2"/>
              </a:rPr>
              <a:t> durch Französischen</a:t>
            </a:r>
            <a:r>
              <a:rPr lang="de-DE" sz="1800" b="0"/>
              <a:t> Revolution </a:t>
            </a:r>
            <a:r>
              <a:rPr lang="de-DE" sz="1800" b="0">
                <a:sym typeface="Wingdings" panose="05000000000000000000" pitchFamily="2" charset="2"/>
              </a:rPr>
              <a:t> verfassungsrechtlichen Status durch </a:t>
            </a:r>
            <a:r>
              <a:rPr lang="de-DE" sz="1800" b="0"/>
              <a:t>Unabhängigkeitserklärung </a:t>
            </a:r>
            <a:r>
              <a:rPr lang="de-DE" sz="1800" b="0">
                <a:sym typeface="Wingdings" panose="05000000000000000000" pitchFamily="2" charset="2"/>
              </a:rPr>
              <a:t> </a:t>
            </a:r>
            <a:r>
              <a:rPr lang="de-DE" sz="1800" b="0"/>
              <a:t>Gleichberechtigu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i="1"/>
          </a:p>
          <a:p>
            <a:pPr>
              <a:lnSpc>
                <a:spcPct val="100000"/>
              </a:lnSpc>
            </a:pPr>
            <a:r>
              <a:rPr lang="de-DE" sz="1800" b="0"/>
              <a:t>Soziale Ungleichheit </a:t>
            </a:r>
            <a:r>
              <a:rPr lang="de-DE" sz="1800" b="0">
                <a:highlight>
                  <a:srgbClr val="FFFF00"/>
                </a:highlight>
              </a:rPr>
              <a:t>DEF</a:t>
            </a:r>
            <a:r>
              <a:rPr lang="de-DE" sz="1800" b="0"/>
              <a:t> = wenn </a:t>
            </a:r>
            <a:r>
              <a:rPr lang="de-DE" sz="1800"/>
              <a:t>Menschen</a:t>
            </a:r>
            <a:r>
              <a:rPr lang="de-DE" sz="1800" b="0"/>
              <a:t> </a:t>
            </a:r>
            <a:r>
              <a:rPr lang="de-DE" sz="1800"/>
              <a:t>aufgrund ihrer Stellung </a:t>
            </a:r>
            <a:r>
              <a:rPr lang="de-DE" sz="1800" b="0"/>
              <a:t>in sozialen Beziehungsgefügen </a:t>
            </a:r>
            <a:r>
              <a:rPr lang="de-DE" sz="1800"/>
              <a:t>von den ‚wertvollen Gütern‘ einer Gesellschaft regelmäßig mehr </a:t>
            </a:r>
            <a:r>
              <a:rPr lang="de-DE" sz="1800" b="0"/>
              <a:t>als andere </a:t>
            </a:r>
            <a:r>
              <a:rPr lang="de-DE" sz="1800"/>
              <a:t>erhalten</a:t>
            </a:r>
            <a:r>
              <a:rPr lang="de-DE" sz="1800" b="0"/>
              <a:t>“ </a:t>
            </a:r>
            <a:r>
              <a:rPr lang="de-DE" sz="1100" b="0"/>
              <a:t>Hradil 2001</a:t>
            </a:r>
          </a:p>
          <a:p>
            <a:pPr>
              <a:lnSpc>
                <a:spcPct val="100000"/>
              </a:lnSpc>
            </a:pPr>
            <a:endParaRPr lang="de-DE" sz="1800" b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52515446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4.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C2DB38B-6A74-4954-AD7D-0ABF5C131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283500"/>
            <a:ext cx="5676664" cy="4113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86573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>
                <a:solidFill>
                  <a:schemeClr val="bg2"/>
                </a:solidFill>
              </a:rPr>
              <a:t>Lernziele</a:t>
            </a:r>
            <a:r>
              <a:rPr lang="de-DE"/>
              <a:t>: dritte Sitzung I VL. (3) und (4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1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379110" y="679937"/>
            <a:ext cx="8873410" cy="3849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>
                <a:solidFill>
                  <a:schemeClr val="tx2"/>
                </a:solidFill>
              </a:rPr>
              <a:t>Was wurde heute erarbeitet…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Gleichheit</a:t>
            </a:r>
            <a:r>
              <a:rPr lang="de-DE" sz="1800">
                <a:solidFill>
                  <a:schemeClr val="tx2"/>
                </a:solidFill>
              </a:rPr>
              <a:t> und </a:t>
            </a:r>
            <a:r>
              <a:rPr lang="de-DE" sz="1800" b="1">
                <a:solidFill>
                  <a:schemeClr val="tx2"/>
                </a:solidFill>
              </a:rPr>
              <a:t>soziale Ungleichheit </a:t>
            </a:r>
            <a:r>
              <a:rPr lang="de-DE" sz="1800">
                <a:solidFill>
                  <a:schemeClr val="tx2"/>
                </a:solidFill>
              </a:rPr>
              <a:t>definieren </a:t>
            </a:r>
          </a:p>
          <a:p>
            <a:pPr>
              <a:lnSpc>
                <a:spcPct val="150000"/>
              </a:lnSpc>
            </a:pPr>
            <a:endParaRPr lang="de-DE" sz="180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olidFill>
                  <a:schemeClr val="tx2"/>
                </a:solidFill>
              </a:rPr>
              <a:t>Zentrale Begriffe der </a:t>
            </a:r>
            <a:r>
              <a:rPr lang="de-DE" sz="1800" b="1">
                <a:solidFill>
                  <a:schemeClr val="tx2"/>
                </a:solidFill>
              </a:rPr>
              <a:t>drei großen Ungleichheiten </a:t>
            </a:r>
            <a:r>
              <a:rPr lang="de-DE" sz="1800">
                <a:solidFill>
                  <a:schemeClr val="tx2"/>
                </a:solidFill>
              </a:rPr>
              <a:t>kennen (beispielhafte Modelle)</a:t>
            </a:r>
          </a:p>
          <a:p>
            <a:pPr marL="6286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500" b="1">
                <a:solidFill>
                  <a:schemeClr val="tx2"/>
                </a:solidFill>
              </a:rPr>
              <a:t>Klassen</a:t>
            </a:r>
            <a:r>
              <a:rPr lang="de-DE" sz="1500">
                <a:solidFill>
                  <a:schemeClr val="tx2"/>
                </a:solidFill>
              </a:rPr>
              <a:t>modell (</a:t>
            </a:r>
            <a:r>
              <a:rPr lang="de-DE" sz="1500" b="1">
                <a:solidFill>
                  <a:schemeClr val="tx2"/>
                </a:solidFill>
              </a:rPr>
              <a:t>Karl Marx</a:t>
            </a:r>
            <a:r>
              <a:rPr lang="de-DE" sz="1500">
                <a:solidFill>
                  <a:schemeClr val="tx2"/>
                </a:solidFill>
              </a:rPr>
              <a:t>) </a:t>
            </a:r>
          </a:p>
          <a:p>
            <a:pPr marL="6286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500" b="1">
                <a:solidFill>
                  <a:schemeClr val="tx2"/>
                </a:solidFill>
              </a:rPr>
              <a:t>Schichte</a:t>
            </a:r>
            <a:r>
              <a:rPr lang="de-DE" sz="1500">
                <a:solidFill>
                  <a:schemeClr val="tx2"/>
                </a:solidFill>
              </a:rPr>
              <a:t>nmodell (</a:t>
            </a:r>
            <a:r>
              <a:rPr lang="de-DE" sz="1500" b="1" err="1">
                <a:solidFill>
                  <a:schemeClr val="tx2"/>
                </a:solidFill>
              </a:rPr>
              <a:t>Boltezwiebel</a:t>
            </a:r>
            <a:r>
              <a:rPr lang="de-DE" sz="1500">
                <a:solidFill>
                  <a:schemeClr val="tx2"/>
                </a:solidFill>
              </a:rPr>
              <a:t>) </a:t>
            </a:r>
          </a:p>
          <a:p>
            <a:pPr marL="6286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500">
                <a:solidFill>
                  <a:schemeClr val="tx2"/>
                </a:solidFill>
              </a:rPr>
              <a:t>Neues Modell: </a:t>
            </a:r>
            <a:r>
              <a:rPr lang="de-DE" sz="1500" b="1">
                <a:solidFill>
                  <a:schemeClr val="tx2"/>
                </a:solidFill>
              </a:rPr>
              <a:t>Sozialer Raum </a:t>
            </a:r>
            <a:r>
              <a:rPr lang="de-DE" sz="1500">
                <a:solidFill>
                  <a:schemeClr val="tx2"/>
                </a:solidFill>
              </a:rPr>
              <a:t>(</a:t>
            </a:r>
            <a:r>
              <a:rPr lang="de-DE" sz="1500" b="1">
                <a:solidFill>
                  <a:schemeClr val="tx2"/>
                </a:solidFill>
              </a:rPr>
              <a:t>Bourdieu</a:t>
            </a:r>
            <a:r>
              <a:rPr lang="de-DE" sz="1500">
                <a:solidFill>
                  <a:schemeClr val="tx2"/>
                </a:solidFill>
              </a:rPr>
              <a:t>)</a:t>
            </a:r>
          </a:p>
          <a:p>
            <a:pPr marL="971550" lvl="2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1500">
                <a:solidFill>
                  <a:schemeClr val="tx2"/>
                </a:solidFill>
              </a:rPr>
              <a:t>Kapitalarten und „feine Unterschiede“</a:t>
            </a:r>
          </a:p>
          <a:p>
            <a:pPr marL="6286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500">
                <a:solidFill>
                  <a:schemeClr val="tx2"/>
                </a:solidFill>
              </a:rPr>
              <a:t>Modell zu </a:t>
            </a:r>
            <a:r>
              <a:rPr lang="de-DE" sz="1500" b="1">
                <a:solidFill>
                  <a:schemeClr val="tx2"/>
                </a:solidFill>
              </a:rPr>
              <a:t>Milieus</a:t>
            </a:r>
            <a:r>
              <a:rPr lang="de-DE" sz="1500">
                <a:solidFill>
                  <a:schemeClr val="tx2"/>
                </a:solidFill>
              </a:rPr>
              <a:t> und Lebensstile (</a:t>
            </a:r>
            <a:r>
              <a:rPr lang="de-DE" sz="1500" b="1">
                <a:solidFill>
                  <a:schemeClr val="tx2"/>
                </a:solidFill>
              </a:rPr>
              <a:t>Sinus</a:t>
            </a:r>
            <a:r>
              <a:rPr lang="de-DE" sz="1500">
                <a:solidFill>
                  <a:schemeClr val="tx2"/>
                </a:solidFill>
              </a:rPr>
              <a:t>milieu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olidFill>
                  <a:schemeClr val="tx2"/>
                </a:solidFill>
              </a:rPr>
              <a:t>Unterscheidung zwischen </a:t>
            </a:r>
            <a:r>
              <a:rPr lang="de-DE" sz="1800" b="1">
                <a:solidFill>
                  <a:schemeClr val="tx2"/>
                </a:solidFill>
              </a:rPr>
              <a:t>vertikaler und horizontaler Ungleichheit </a:t>
            </a:r>
            <a:r>
              <a:rPr lang="de-DE" sz="1800">
                <a:solidFill>
                  <a:schemeClr val="tx2"/>
                </a:solidFill>
              </a:rPr>
              <a:t>benennen</a:t>
            </a: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2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170303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olidFill>
                  <a:schemeClr val="tx2"/>
                </a:solidFill>
              </a:rPr>
              <a:t>soziale Ungleichheiten bei </a:t>
            </a:r>
            <a:r>
              <a:rPr lang="de-DE" sz="1800" b="1">
                <a:solidFill>
                  <a:schemeClr val="tx2"/>
                </a:solidFill>
              </a:rPr>
              <a:t>Rasse und Geschlec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>
                <a:solidFill>
                  <a:schemeClr val="tx2"/>
                </a:solidFill>
              </a:rPr>
              <a:t>Intersektionalität</a:t>
            </a:r>
            <a:r>
              <a:rPr lang="de-DE" sz="1800">
                <a:solidFill>
                  <a:schemeClr val="tx2"/>
                </a:solidFill>
              </a:rPr>
              <a:t> als neues Paradigma der Ungleichheitsforschung </a:t>
            </a: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de-DE" altLang="de-DE" sz="28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e-DE" altLang="de-DE" sz="2800" b="0">
                <a:latin typeface="Arial" panose="020B0604020202020204" pitchFamily="34" charset="0"/>
                <a:cs typeface="Arial" panose="020B0604020202020204" pitchFamily="34" charset="0"/>
              </a:rPr>
              <a:t>oziale Ungleichheit als soziales Proble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777733"/>
            <a:ext cx="8208456" cy="347270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altLang="de-DE" sz="1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wiefern ist soziale Ungleichheit ein soziales Problem?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Immer wieder in Geschichte kritisiert und thematisiert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Wodurch: durch soziale Bewegung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Ausdruck durch: zentrale </a:t>
            </a:r>
            <a:r>
              <a:rPr lang="de-DE" altLang="de-DE" sz="1800">
                <a:latin typeface="Arial" panose="020B0604020202020204" pitchFamily="34" charset="0"/>
                <a:cs typeface="Arial" panose="020B0604020202020204" pitchFamily="34" charset="0"/>
              </a:rPr>
              <a:t>soziale Bewegungen</a:t>
            </a: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 und ihre </a:t>
            </a:r>
            <a:r>
              <a:rPr lang="de-DE" altLang="de-DE" sz="1800">
                <a:latin typeface="Arial" panose="020B0604020202020204" pitchFamily="34" charset="0"/>
                <a:cs typeface="Arial" panose="020B0604020202020204" pitchFamily="34" charset="0"/>
              </a:rPr>
              <a:t>Kritik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>
                <a:latin typeface="Arial" panose="020B0604020202020204" pitchFamily="34" charset="0"/>
                <a:cs typeface="Arial" panose="020B0604020202020204" pitchFamily="34" charset="0"/>
              </a:rPr>
              <a:t>Beispiele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Bürgerrechtsbewegungen (Klassen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Frauenbewegung (Geschlech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Arbeiterbewegung (Rassismus)</a:t>
            </a:r>
          </a:p>
          <a:p>
            <a:pPr>
              <a:lnSpc>
                <a:spcPct val="100000"/>
              </a:lnSpc>
            </a:pPr>
            <a:r>
              <a:rPr lang="de-DE" altLang="de-DE" sz="18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00000"/>
              </a:lnSpc>
            </a:pPr>
            <a:endParaRPr lang="de-DE" altLang="de-DE" sz="1800" b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altLang="de-DE" sz="1800" b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Tx/>
              <a:buChar char="-"/>
            </a:pPr>
            <a:endParaRPr lang="de-DE" altLang="de-DE" sz="1800" b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sz="1800" b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61749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788F97-D1DB-9DF5-A49F-6EEBDDE94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31590"/>
            <a:ext cx="7560000" cy="468000"/>
          </a:xfrm>
        </p:spPr>
        <p:txBody>
          <a:bodyPr/>
          <a:lstStyle/>
          <a:p>
            <a:r>
              <a:rPr lang="de-DE"/>
              <a:t>(4) Sitzung: die </a:t>
            </a:r>
            <a:r>
              <a:rPr lang="de-DE" b="1"/>
              <a:t>‚großen drei‘ </a:t>
            </a:r>
            <a:r>
              <a:rPr lang="de-DE"/>
              <a:t>Ungleichh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739E0B-908B-A9ED-6062-EA2D488AB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7B9EA7-F765-7E65-557B-C9065DAA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E1C33A2-7090-7FF2-33EF-D47955756D54}"/>
              </a:ext>
            </a:extLst>
          </p:cNvPr>
          <p:cNvSpPr txBox="1">
            <a:spLocks/>
          </p:cNvSpPr>
          <p:nvPr/>
        </p:nvSpPr>
        <p:spPr>
          <a:xfrm>
            <a:off x="1979712" y="1751990"/>
            <a:ext cx="4968552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00" b="0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/>
              <a:t>1) </a:t>
            </a:r>
            <a:r>
              <a:rPr lang="de-DE" b="1"/>
              <a:t>Klasse</a:t>
            </a:r>
            <a:r>
              <a:rPr lang="de-DE"/>
              <a:t>, 2) Schicht, 3) Milieus</a:t>
            </a:r>
          </a:p>
        </p:txBody>
      </p:sp>
    </p:spTree>
    <p:extLst>
      <p:ext uri="{BB962C8B-B14F-4D97-AF65-F5344CB8AC3E}">
        <p14:creationId xmlns:p14="http://schemas.microsoft.com/office/powerpoint/2010/main" val="3077066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1) </a:t>
            </a:r>
            <a:r>
              <a:rPr lang="de-DE" b="1"/>
              <a:t>Klassen</a:t>
            </a:r>
            <a:r>
              <a:rPr lang="de-DE"/>
              <a:t> nach Marx: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7848416" cy="4462062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b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Verortet Frühindustrielle Gesellschaf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Abgrenzend zur Ständegesellschaf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Ausgangspunkt: Ökonomische Bedingung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Klasseneinteilung 1) </a:t>
            </a:r>
            <a:r>
              <a:rPr lang="de-DE" sz="1800"/>
              <a:t>Proletariat</a:t>
            </a:r>
            <a:r>
              <a:rPr lang="de-DE" sz="1800" b="0"/>
              <a:t> ( KEINE Produktionsmittel) vs. 2) </a:t>
            </a:r>
            <a:r>
              <a:rPr lang="de-DE" sz="1800"/>
              <a:t>Bourgeoisie</a:t>
            </a:r>
            <a:r>
              <a:rPr lang="de-DE" sz="1800" b="0"/>
              <a:t> (Produktionsmitt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Antagonistisch: Besitzende VS. nicht besitzende Grup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Asymmetrisches Gefüge (Arbeiterschaft kann nur Arbeitskraft anbieten) </a:t>
            </a:r>
            <a:r>
              <a:rPr lang="de-DE" sz="1800" b="0">
                <a:sym typeface="Wingdings" panose="05000000000000000000" pitchFamily="2" charset="2"/>
              </a:rPr>
              <a:t> Unterlegen</a:t>
            </a:r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2852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 nach </a:t>
            </a:r>
            <a:r>
              <a:rPr lang="de-DE" b="1"/>
              <a:t>Marx</a:t>
            </a:r>
            <a:r>
              <a:rPr lang="de-DE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937" y="989965"/>
            <a:ext cx="8280464" cy="367551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de-DE" sz="1800" b="0"/>
              <a:t>„Klasse an sich“</a:t>
            </a:r>
          </a:p>
          <a:p>
            <a:pPr>
              <a:lnSpc>
                <a:spcPct val="100000"/>
              </a:lnSpc>
            </a:pPr>
            <a:r>
              <a:rPr lang="de-DE" sz="1800" b="0"/>
              <a:t>= analytische </a:t>
            </a:r>
            <a:r>
              <a:rPr lang="de-DE" sz="1800"/>
              <a:t>Beschreibung von auß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Besitzende und nicht Besitzende Grupp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/>
              <a:t>Einseitige Abhängigkeit (Proletariat MUSS Arbeitskraft anbieten)</a:t>
            </a:r>
          </a:p>
          <a:p>
            <a:endParaRPr lang="de-DE" sz="1800" b="0"/>
          </a:p>
          <a:p>
            <a:r>
              <a:rPr lang="de-DE" sz="1800" b="0"/>
              <a:t>„Klasse für sich“</a:t>
            </a:r>
          </a:p>
          <a:p>
            <a:r>
              <a:rPr lang="de-DE" sz="1800" b="0"/>
              <a:t>= </a:t>
            </a:r>
            <a:r>
              <a:rPr lang="de-DE" sz="1800"/>
              <a:t>gemeinsame Empfindungen / Bewusstsein </a:t>
            </a:r>
            <a:r>
              <a:rPr lang="de-DE" sz="1800" b="0"/>
              <a:t>der jeweiligen Kla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Abgrenzend zur anderen Klasse </a:t>
            </a:r>
            <a:r>
              <a:rPr lang="de-DE" sz="1800" b="0">
                <a:sym typeface="Wingdings" panose="05000000000000000000" pitchFamily="2" charset="2"/>
              </a:rPr>
              <a:t> eigenes „</a:t>
            </a:r>
            <a:r>
              <a:rPr lang="de-DE" sz="1800">
                <a:sym typeface="Wingdings" panose="05000000000000000000" pitchFamily="2" charset="2"/>
              </a:rPr>
              <a:t>Klassenbewusstsein</a:t>
            </a:r>
            <a:r>
              <a:rPr lang="de-DE" sz="1800" b="0">
                <a:sym typeface="Wingdings" panose="05000000000000000000" pitchFamily="2" charset="2"/>
              </a:rPr>
              <a:t>“</a:t>
            </a:r>
            <a:endParaRPr lang="de-DE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/>
              <a:t>Unüberbrückbare Klassengegensätze (prognostiziert Klassenkampf)</a:t>
            </a:r>
          </a:p>
          <a:p>
            <a:endParaRPr lang="de-DE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6456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 nach Marx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918000"/>
            <a:ext cx="8280464" cy="336600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b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F58FDD0-0D3E-4186-BFD5-16946F145673}"/>
              </a:ext>
            </a:extLst>
          </p:cNvPr>
          <p:cNvSpPr/>
          <p:nvPr/>
        </p:nvSpPr>
        <p:spPr>
          <a:xfrm>
            <a:off x="4839081" y="168235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letariat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6F73363-7A85-4072-848C-4D5455FD6533}"/>
              </a:ext>
            </a:extLst>
          </p:cNvPr>
          <p:cNvSpPr/>
          <p:nvPr/>
        </p:nvSpPr>
        <p:spPr>
          <a:xfrm>
            <a:off x="4306342" y="920622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Bourgeoisie 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080B55-3AC6-4CFE-B072-98A39935452D}"/>
              </a:ext>
            </a:extLst>
          </p:cNvPr>
          <p:cNvSpPr/>
          <p:nvPr/>
        </p:nvSpPr>
        <p:spPr>
          <a:xfrm>
            <a:off x="2365239" y="156202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Besitzt von Produktionsmittel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0ABEE06-3562-4606-8421-83FC0FF12526}"/>
              </a:ext>
            </a:extLst>
          </p:cNvPr>
          <p:cNvSpPr/>
          <p:nvPr/>
        </p:nvSpPr>
        <p:spPr>
          <a:xfrm>
            <a:off x="3131840" y="2673349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Keine Produktionsmittel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2D5A5BC-576A-4304-8D40-7E6068E80B02}"/>
              </a:ext>
            </a:extLst>
          </p:cNvPr>
          <p:cNvSpPr/>
          <p:nvPr/>
        </p:nvSpPr>
        <p:spPr>
          <a:xfrm>
            <a:off x="251520" y="1309774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Vorhandene Lebenschanc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C7227D3-ECEE-4AB8-9496-AECCC23D4CDB}"/>
              </a:ext>
            </a:extLst>
          </p:cNvPr>
          <p:cNvSpPr/>
          <p:nvPr/>
        </p:nvSpPr>
        <p:spPr>
          <a:xfrm>
            <a:off x="401131" y="267459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Interessen und Mentalität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683EC37-C629-40EE-8D9C-BA77FF5DA9B4}"/>
              </a:ext>
            </a:extLst>
          </p:cNvPr>
          <p:cNvSpPr/>
          <p:nvPr/>
        </p:nvSpPr>
        <p:spPr>
          <a:xfrm>
            <a:off x="6178550" y="2772108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„Klassen an sich“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D6C0DC7-D5A3-4A84-85D2-9959B6F30A6C}"/>
              </a:ext>
            </a:extLst>
          </p:cNvPr>
          <p:cNvSpPr/>
          <p:nvPr/>
        </p:nvSpPr>
        <p:spPr>
          <a:xfrm>
            <a:off x="4319137" y="3574388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„Klassen für sich“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55C696A-B89C-42F2-AF97-0FF6852A05C2}"/>
              </a:ext>
            </a:extLst>
          </p:cNvPr>
          <p:cNvSpPr/>
          <p:nvPr/>
        </p:nvSpPr>
        <p:spPr>
          <a:xfrm>
            <a:off x="1834482" y="3546290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Revolution</a:t>
            </a:r>
          </a:p>
        </p:txBody>
      </p:sp>
      <p:sp>
        <p:nvSpPr>
          <p:cNvPr id="17" name="Sprechblase: rechteckig mit abgerundeten Ecken 16">
            <a:extLst>
              <a:ext uri="{FF2B5EF4-FFF2-40B4-BE49-F238E27FC236}">
                <a16:creationId xmlns:a16="http://schemas.microsoft.com/office/drawing/2014/main" id="{98D60068-5ECB-493B-AE4E-269410093273}"/>
              </a:ext>
            </a:extLst>
          </p:cNvPr>
          <p:cNvSpPr/>
          <p:nvPr/>
        </p:nvSpPr>
        <p:spPr>
          <a:xfrm>
            <a:off x="6862564" y="544279"/>
            <a:ext cx="1456365" cy="568869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Welche Zuordnungen?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302EC53-CE3D-4B68-A7B5-2255B98123CB}"/>
              </a:ext>
            </a:extLst>
          </p:cNvPr>
          <p:cNvSpPr/>
          <p:nvPr/>
        </p:nvSpPr>
        <p:spPr>
          <a:xfrm>
            <a:off x="6882201" y="1828170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Klassenkampf</a:t>
            </a:r>
          </a:p>
        </p:txBody>
      </p:sp>
    </p:spTree>
    <p:extLst>
      <p:ext uri="{BB962C8B-B14F-4D97-AF65-F5344CB8AC3E}">
        <p14:creationId xmlns:p14="http://schemas.microsoft.com/office/powerpoint/2010/main" val="4118478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 nach Marx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918000"/>
            <a:ext cx="8280464" cy="336600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b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b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F58FDD0-0D3E-4186-BFD5-16946F145673}"/>
              </a:ext>
            </a:extLst>
          </p:cNvPr>
          <p:cNvSpPr/>
          <p:nvPr/>
        </p:nvSpPr>
        <p:spPr>
          <a:xfrm>
            <a:off x="4839081" y="168235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letariat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6F73363-7A85-4072-848C-4D5455FD6533}"/>
              </a:ext>
            </a:extLst>
          </p:cNvPr>
          <p:cNvSpPr/>
          <p:nvPr/>
        </p:nvSpPr>
        <p:spPr>
          <a:xfrm>
            <a:off x="4306342" y="920622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Bourgeoisie 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080B55-3AC6-4CFE-B072-98A39935452D}"/>
              </a:ext>
            </a:extLst>
          </p:cNvPr>
          <p:cNvSpPr/>
          <p:nvPr/>
        </p:nvSpPr>
        <p:spPr>
          <a:xfrm>
            <a:off x="2365239" y="156202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Besitzt von Produktionsmittel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0ABEE06-3562-4606-8421-83FC0FF12526}"/>
              </a:ext>
            </a:extLst>
          </p:cNvPr>
          <p:cNvSpPr/>
          <p:nvPr/>
        </p:nvSpPr>
        <p:spPr>
          <a:xfrm>
            <a:off x="3131840" y="2673349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Keine Produktionsmittel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2D5A5BC-576A-4304-8D40-7E6068E80B02}"/>
              </a:ext>
            </a:extLst>
          </p:cNvPr>
          <p:cNvSpPr/>
          <p:nvPr/>
        </p:nvSpPr>
        <p:spPr>
          <a:xfrm>
            <a:off x="251520" y="1309774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Vorhandene Lebenschanc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C7227D3-ECEE-4AB8-9496-AECCC23D4CDB}"/>
              </a:ext>
            </a:extLst>
          </p:cNvPr>
          <p:cNvSpPr/>
          <p:nvPr/>
        </p:nvSpPr>
        <p:spPr>
          <a:xfrm>
            <a:off x="401131" y="2674597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Interessen und Mentalität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683EC37-C629-40EE-8D9C-BA77FF5DA9B4}"/>
              </a:ext>
            </a:extLst>
          </p:cNvPr>
          <p:cNvSpPr/>
          <p:nvPr/>
        </p:nvSpPr>
        <p:spPr>
          <a:xfrm>
            <a:off x="6178550" y="2772108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„Klassen an sich“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D6C0DC7-D5A3-4A84-85D2-9959B6F30A6C}"/>
              </a:ext>
            </a:extLst>
          </p:cNvPr>
          <p:cNvSpPr/>
          <p:nvPr/>
        </p:nvSpPr>
        <p:spPr>
          <a:xfrm>
            <a:off x="4319137" y="3574388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„Klassen für sich“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55C696A-B89C-42F2-AF97-0FF6852A05C2}"/>
              </a:ext>
            </a:extLst>
          </p:cNvPr>
          <p:cNvSpPr/>
          <p:nvPr/>
        </p:nvSpPr>
        <p:spPr>
          <a:xfrm>
            <a:off x="1834482" y="3546290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Revolution</a:t>
            </a:r>
          </a:p>
        </p:txBody>
      </p:sp>
      <p:sp>
        <p:nvSpPr>
          <p:cNvPr id="17" name="Sprechblase: rechteckig mit abgerundeten Ecken 16">
            <a:extLst>
              <a:ext uri="{FF2B5EF4-FFF2-40B4-BE49-F238E27FC236}">
                <a16:creationId xmlns:a16="http://schemas.microsoft.com/office/drawing/2014/main" id="{98D60068-5ECB-493B-AE4E-269410093273}"/>
              </a:ext>
            </a:extLst>
          </p:cNvPr>
          <p:cNvSpPr/>
          <p:nvPr/>
        </p:nvSpPr>
        <p:spPr>
          <a:xfrm>
            <a:off x="6862564" y="544279"/>
            <a:ext cx="1456365" cy="568869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Welche Zuordnungen?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302EC53-CE3D-4B68-A7B5-2255B98123CB}"/>
              </a:ext>
            </a:extLst>
          </p:cNvPr>
          <p:cNvSpPr/>
          <p:nvPr/>
        </p:nvSpPr>
        <p:spPr>
          <a:xfrm>
            <a:off x="6882201" y="1828170"/>
            <a:ext cx="1872208" cy="50405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Klassenkampf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8AF82B7-1C26-650C-A249-0348E8DE08D8}"/>
              </a:ext>
            </a:extLst>
          </p:cNvPr>
          <p:cNvCxnSpPr>
            <a:cxnSpLocks/>
          </p:cNvCxnSpPr>
          <p:nvPr/>
        </p:nvCxnSpPr>
        <p:spPr>
          <a:xfrm flipV="1">
            <a:off x="3648104" y="1299134"/>
            <a:ext cx="1697339" cy="50019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508D69F-FC5C-9924-831C-00B7B53C6FCB}"/>
              </a:ext>
            </a:extLst>
          </p:cNvPr>
          <p:cNvCxnSpPr>
            <a:cxnSpLocks/>
          </p:cNvCxnSpPr>
          <p:nvPr/>
        </p:nvCxnSpPr>
        <p:spPr>
          <a:xfrm flipH="1">
            <a:off x="4535768" y="2062190"/>
            <a:ext cx="1239417" cy="83924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C6681604-AD0E-CF79-4D1E-4048B5E72F0F}"/>
              </a:ext>
            </a:extLst>
          </p:cNvPr>
          <p:cNvCxnSpPr>
            <a:cxnSpLocks/>
          </p:cNvCxnSpPr>
          <p:nvPr/>
        </p:nvCxnSpPr>
        <p:spPr>
          <a:xfrm flipH="1">
            <a:off x="3428752" y="2049245"/>
            <a:ext cx="4002010" cy="162390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7959950F-670C-B038-151E-F9FEB7D04D78}"/>
              </a:ext>
            </a:extLst>
          </p:cNvPr>
          <p:cNvCxnSpPr>
            <a:cxnSpLocks/>
          </p:cNvCxnSpPr>
          <p:nvPr/>
        </p:nvCxnSpPr>
        <p:spPr>
          <a:xfrm flipH="1" flipV="1">
            <a:off x="1475656" y="2930569"/>
            <a:ext cx="3939791" cy="8766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F6758D3-D8A9-F681-ED88-02032E17C1CA}"/>
              </a:ext>
            </a:extLst>
          </p:cNvPr>
          <p:cNvCxnSpPr>
            <a:cxnSpLocks/>
          </p:cNvCxnSpPr>
          <p:nvPr/>
        </p:nvCxnSpPr>
        <p:spPr>
          <a:xfrm flipH="1" flipV="1">
            <a:off x="1380447" y="1507819"/>
            <a:ext cx="4996372" cy="151631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5010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788F97-D1DB-9DF5-A49F-6EEBDDE94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31590"/>
            <a:ext cx="7560000" cy="468000"/>
          </a:xfrm>
        </p:spPr>
        <p:txBody>
          <a:bodyPr/>
          <a:lstStyle/>
          <a:p>
            <a:r>
              <a:rPr lang="de-DE"/>
              <a:t>(4) Sitzung: die ‚großen drei‘ Ungleichh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739E0B-908B-A9ED-6062-EA2D488AB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7B9EA7-F765-7E65-557B-C9065DAA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E1C33A2-7090-7FF2-33EF-D47955756D54}"/>
              </a:ext>
            </a:extLst>
          </p:cNvPr>
          <p:cNvSpPr txBox="1">
            <a:spLocks/>
          </p:cNvSpPr>
          <p:nvPr/>
        </p:nvSpPr>
        <p:spPr>
          <a:xfrm>
            <a:off x="1979712" y="1751990"/>
            <a:ext cx="4968552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00" b="0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/>
              <a:t>1) Klasse, 2) </a:t>
            </a:r>
            <a:r>
              <a:rPr lang="de-DE" b="1"/>
              <a:t>Schicht</a:t>
            </a:r>
            <a:r>
              <a:rPr lang="de-DE"/>
              <a:t>, 3) Milieus</a:t>
            </a:r>
          </a:p>
        </p:txBody>
      </p:sp>
    </p:spTree>
    <p:extLst>
      <p:ext uri="{BB962C8B-B14F-4D97-AF65-F5344CB8AC3E}">
        <p14:creationId xmlns:p14="http://schemas.microsoft.com/office/powerpoint/2010/main" val="634955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22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PowerPoint Master RUB</vt:lpstr>
      <vt:lpstr>Tutorium zur VL. Sitzung (3) und (4) </vt:lpstr>
      <vt:lpstr>Gleichheit vs. soziale Ungleichheit</vt:lpstr>
      <vt:lpstr>Soziale Ungleichheit als soziales Problem</vt:lpstr>
      <vt:lpstr>(4) Sitzung: die ‚großen drei‘ Ungleichheiten</vt:lpstr>
      <vt:lpstr>1) Klassen nach Marx:</vt:lpstr>
      <vt:lpstr>Klassen nach Marx:</vt:lpstr>
      <vt:lpstr>Klassen nach Marx:</vt:lpstr>
      <vt:lpstr>Klassen nach Marx:</vt:lpstr>
      <vt:lpstr>(4) Sitzung: die ‚großen drei‘ Ungleichheiten</vt:lpstr>
      <vt:lpstr>1) Schichten nach Bolte:</vt:lpstr>
      <vt:lpstr>Schichtmodell:</vt:lpstr>
      <vt:lpstr>“Bolte Zwiebel“:</vt:lpstr>
      <vt:lpstr>Neuere Modelle: Sozialer Raum </vt:lpstr>
      <vt:lpstr>Kapitalarten nach Bourdieu:</vt:lpstr>
      <vt:lpstr>Kapitalarten nach Bourdieu:</vt:lpstr>
      <vt:lpstr>(4) Sitzung: die ‚großen drei‘ Ungleichheiten</vt:lpstr>
      <vt:lpstr>Soziales Milieu: </vt:lpstr>
      <vt:lpstr>Sinus Milieus:</vt:lpstr>
      <vt:lpstr> 1.</vt:lpstr>
      <vt:lpstr>4.</vt:lpstr>
      <vt:lpstr>Lernziele: dritte Sitzung I VL. (3) und (4)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revision>1</cp:revision>
  <cp:lastPrinted>2022-04-21T15:49:35Z</cp:lastPrinted>
  <dcterms:created xsi:type="dcterms:W3CDTF">2020-06-22T16:14:58Z</dcterms:created>
  <dcterms:modified xsi:type="dcterms:W3CDTF">2022-11-04T07:28:15Z</dcterms:modified>
</cp:coreProperties>
</file>